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33"/>
  </p:notesMasterIdLst>
  <p:sldIdLst>
    <p:sldId id="264" r:id="rId5"/>
    <p:sldId id="1132" r:id="rId6"/>
    <p:sldId id="1958" r:id="rId7"/>
    <p:sldId id="302" r:id="rId8"/>
    <p:sldId id="1966" r:id="rId9"/>
    <p:sldId id="1969" r:id="rId10"/>
    <p:sldId id="303" r:id="rId11"/>
    <p:sldId id="304" r:id="rId12"/>
    <p:sldId id="305" r:id="rId13"/>
    <p:sldId id="1973" r:id="rId14"/>
    <p:sldId id="308" r:id="rId15"/>
    <p:sldId id="307" r:id="rId16"/>
    <p:sldId id="1974" r:id="rId17"/>
    <p:sldId id="1967" r:id="rId18"/>
    <p:sldId id="295" r:id="rId19"/>
    <p:sldId id="296" r:id="rId20"/>
    <p:sldId id="1968" r:id="rId21"/>
    <p:sldId id="297" r:id="rId22"/>
    <p:sldId id="1975" r:id="rId23"/>
    <p:sldId id="301" r:id="rId24"/>
    <p:sldId id="1970" r:id="rId25"/>
    <p:sldId id="298" r:id="rId26"/>
    <p:sldId id="300" r:id="rId27"/>
    <p:sldId id="1976" r:id="rId28"/>
    <p:sldId id="1971" r:id="rId29"/>
    <p:sldId id="1972" r:id="rId30"/>
    <p:sldId id="1962" r:id="rId31"/>
    <p:sldId id="1963" r:id="rId32"/>
  </p:sldIdLst>
  <p:sldSz cx="12192000" cy="6858000"/>
  <p:notesSz cx="7010400" cy="9296400"/>
  <p:custDataLst>
    <p:tags r:id="rId3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EDAE156-6A94-9205-EE7C-E046E335D1EB}" name="Nadkarni, Nikhil" initials="NN" userId="S::nnadkarni@Cambridgema.gov::8cb4e2ce-db3a-48d0-bf6f-d5eb8967a6f9" providerId="AD"/>
  <p188:author id="{90EA6BB1-1735-C5BB-99AC-EAA57B7C2576}" name="Nadkarni, Nikhil" initials="NN" userId="S::nnadkarni@cambridgema.gov::8cb4e2ce-db3a-48d0-bf6f-d5eb8967a6f9" providerId="AD"/>
  <p188:author id="{AE6035DD-83A2-B4BB-C541-65A95A66ECFF}" name="Rasmussen, Susanne" initials="RS" userId="S::srasmussen@cambridgema.gov::0bd74171-9339-45ee-b4ef-ce827adfd04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3511153-53A3-41F8-82F5-EA40A4524BE7}" v="1" dt="2023-07-13T21:35:52.10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868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microsoft.com/office/2016/11/relationships/changesInfo" Target="changesInfos/changesInfo1.xml"/><Relationship Id="rId21" Type="http://schemas.openxmlformats.org/officeDocument/2006/relationships/slide" Target="slides/slide17.xml"/><Relationship Id="rId34" Type="http://schemas.openxmlformats.org/officeDocument/2006/relationships/tags" Target="tags/tag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heme" Target="theme/theme1.xml"/><Relationship Id="rId40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sa, Crystal" userId="fb74c9b1-33bd-4af2-8565-ea2bdc65fe6b" providerId="ADAL" clId="{5F6D2B90-59AC-4312-A305-A6973559A963}"/>
    <pc:docChg chg="modSld">
      <pc:chgData name="Rosa, Crystal" userId="fb74c9b1-33bd-4af2-8565-ea2bdc65fe6b" providerId="ADAL" clId="{5F6D2B90-59AC-4312-A305-A6973559A963}" dt="2023-07-11T00:14:12.204" v="27" actId="13244"/>
      <pc:docMkLst>
        <pc:docMk/>
      </pc:docMkLst>
      <pc:sldChg chg="modSp mod">
        <pc:chgData name="Rosa, Crystal" userId="fb74c9b1-33bd-4af2-8565-ea2bdc65fe6b" providerId="ADAL" clId="{5F6D2B90-59AC-4312-A305-A6973559A963}" dt="2023-07-11T00:10:41.531" v="15" actId="13244"/>
        <pc:sldMkLst>
          <pc:docMk/>
          <pc:sldMk cId="1323482831" sldId="264"/>
        </pc:sldMkLst>
        <pc:spChg chg="ord">
          <ac:chgData name="Rosa, Crystal" userId="fb74c9b1-33bd-4af2-8565-ea2bdc65fe6b" providerId="ADAL" clId="{5F6D2B90-59AC-4312-A305-A6973559A963}" dt="2023-07-11T00:08:21.709" v="3" actId="13244"/>
          <ac:spMkLst>
            <pc:docMk/>
            <pc:sldMk cId="1323482831" sldId="264"/>
            <ac:spMk id="2" creationId="{75B90E77-7E96-13CD-A0C5-93F1CBBC75ED}"/>
          </ac:spMkLst>
        </pc:spChg>
        <pc:spChg chg="ord">
          <ac:chgData name="Rosa, Crystal" userId="fb74c9b1-33bd-4af2-8565-ea2bdc65fe6b" providerId="ADAL" clId="{5F6D2B90-59AC-4312-A305-A6973559A963}" dt="2023-07-11T00:10:41.531" v="15" actId="13244"/>
          <ac:spMkLst>
            <pc:docMk/>
            <pc:sldMk cId="1323482831" sldId="264"/>
            <ac:spMk id="5" creationId="{27CC345D-F1D6-4C2C-A33C-0C48F59A7642}"/>
          </ac:spMkLst>
        </pc:spChg>
        <pc:spChg chg="ord">
          <ac:chgData name="Rosa, Crystal" userId="fb74c9b1-33bd-4af2-8565-ea2bdc65fe6b" providerId="ADAL" clId="{5F6D2B90-59AC-4312-A305-A6973559A963}" dt="2023-07-11T00:08:17.511" v="2" actId="13244"/>
          <ac:spMkLst>
            <pc:docMk/>
            <pc:sldMk cId="1323482831" sldId="264"/>
            <ac:spMk id="15" creationId="{C326D269-7F41-4E44-8A13-AE1B695E8677}"/>
          </ac:spMkLst>
        </pc:spChg>
      </pc:sldChg>
      <pc:sldChg chg="modSp mod">
        <pc:chgData name="Rosa, Crystal" userId="fb74c9b1-33bd-4af2-8565-ea2bdc65fe6b" providerId="ADAL" clId="{5F6D2B90-59AC-4312-A305-A6973559A963}" dt="2023-07-11T00:12:53.164" v="21" actId="13244"/>
        <pc:sldMkLst>
          <pc:docMk/>
          <pc:sldMk cId="3259736002" sldId="297"/>
        </pc:sldMkLst>
        <pc:spChg chg="ord">
          <ac:chgData name="Rosa, Crystal" userId="fb74c9b1-33bd-4af2-8565-ea2bdc65fe6b" providerId="ADAL" clId="{5F6D2B90-59AC-4312-A305-A6973559A963}" dt="2023-07-11T00:12:53.164" v="21" actId="13244"/>
          <ac:spMkLst>
            <pc:docMk/>
            <pc:sldMk cId="3259736002" sldId="297"/>
            <ac:spMk id="4" creationId="{96B35D68-DDEC-DA4B-6BA6-36BEC583C076}"/>
          </ac:spMkLst>
        </pc:spChg>
      </pc:sldChg>
      <pc:sldChg chg="modSp mod">
        <pc:chgData name="Rosa, Crystal" userId="fb74c9b1-33bd-4af2-8565-ea2bdc65fe6b" providerId="ADAL" clId="{5F6D2B90-59AC-4312-A305-A6973559A963}" dt="2023-07-11T00:12:31.718" v="20" actId="13244"/>
        <pc:sldMkLst>
          <pc:docMk/>
          <pc:sldMk cId="813981643" sldId="301"/>
        </pc:sldMkLst>
        <pc:spChg chg="ord">
          <ac:chgData name="Rosa, Crystal" userId="fb74c9b1-33bd-4af2-8565-ea2bdc65fe6b" providerId="ADAL" clId="{5F6D2B90-59AC-4312-A305-A6973559A963}" dt="2023-07-11T00:12:31.718" v="20" actId="13244"/>
          <ac:spMkLst>
            <pc:docMk/>
            <pc:sldMk cId="813981643" sldId="301"/>
            <ac:spMk id="7" creationId="{E51C2173-2F81-6980-F1ED-A887E798F795}"/>
          </ac:spMkLst>
        </pc:spChg>
      </pc:sldChg>
      <pc:sldChg chg="modSp mod">
        <pc:chgData name="Rosa, Crystal" userId="fb74c9b1-33bd-4af2-8565-ea2bdc65fe6b" providerId="ADAL" clId="{5F6D2B90-59AC-4312-A305-A6973559A963}" dt="2023-07-11T00:09:59.678" v="10" actId="13244"/>
        <pc:sldMkLst>
          <pc:docMk/>
          <pc:sldMk cId="1650613911" sldId="303"/>
        </pc:sldMkLst>
        <pc:spChg chg="ord">
          <ac:chgData name="Rosa, Crystal" userId="fb74c9b1-33bd-4af2-8565-ea2bdc65fe6b" providerId="ADAL" clId="{5F6D2B90-59AC-4312-A305-A6973559A963}" dt="2023-07-11T00:09:56.235" v="9" actId="13244"/>
          <ac:spMkLst>
            <pc:docMk/>
            <pc:sldMk cId="1650613911" sldId="303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09:59.678" v="10" actId="13244"/>
          <ac:spMkLst>
            <pc:docMk/>
            <pc:sldMk cId="1650613911" sldId="303"/>
            <ac:spMk id="9" creationId="{BADF41E3-B302-4C05-B004-242B35D59BFB}"/>
          </ac:spMkLst>
        </pc:spChg>
      </pc:sldChg>
      <pc:sldChg chg="modSp mod">
        <pc:chgData name="Rosa, Crystal" userId="fb74c9b1-33bd-4af2-8565-ea2bdc65fe6b" providerId="ADAL" clId="{5F6D2B90-59AC-4312-A305-A6973559A963}" dt="2023-07-11T00:10:28.296" v="14" actId="13244"/>
        <pc:sldMkLst>
          <pc:docMk/>
          <pc:sldMk cId="1054884385" sldId="304"/>
        </pc:sldMkLst>
        <pc:spChg chg="ord">
          <ac:chgData name="Rosa, Crystal" userId="fb74c9b1-33bd-4af2-8565-ea2bdc65fe6b" providerId="ADAL" clId="{5F6D2B90-59AC-4312-A305-A6973559A963}" dt="2023-07-11T00:10:16.807" v="11" actId="13244"/>
          <ac:spMkLst>
            <pc:docMk/>
            <pc:sldMk cId="1054884385" sldId="304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10:18.961" v="12" actId="13244"/>
          <ac:spMkLst>
            <pc:docMk/>
            <pc:sldMk cId="1054884385" sldId="304"/>
            <ac:spMk id="9" creationId="{BADF41E3-B302-4C05-B004-242B35D59BFB}"/>
          </ac:spMkLst>
        </pc:spChg>
        <pc:picChg chg="mod ord">
          <ac:chgData name="Rosa, Crystal" userId="fb74c9b1-33bd-4af2-8565-ea2bdc65fe6b" providerId="ADAL" clId="{5F6D2B90-59AC-4312-A305-A6973559A963}" dt="2023-07-11T00:10:28.296" v="14" actId="13244"/>
          <ac:picMkLst>
            <pc:docMk/>
            <pc:sldMk cId="1054884385" sldId="304"/>
            <ac:picMk id="3" creationId="{FAE45911-6294-4543-5D47-8CC65D76669B}"/>
          </ac:picMkLst>
        </pc:picChg>
      </pc:sldChg>
      <pc:sldChg chg="modSp mod">
        <pc:chgData name="Rosa, Crystal" userId="fb74c9b1-33bd-4af2-8565-ea2bdc65fe6b" providerId="ADAL" clId="{5F6D2B90-59AC-4312-A305-A6973559A963}" dt="2023-07-11T00:14:12.204" v="27" actId="13244"/>
        <pc:sldMkLst>
          <pc:docMk/>
          <pc:sldMk cId="156447753" sldId="305"/>
        </pc:sldMkLst>
        <pc:spChg chg="ord">
          <ac:chgData name="Rosa, Crystal" userId="fb74c9b1-33bd-4af2-8565-ea2bdc65fe6b" providerId="ADAL" clId="{5F6D2B90-59AC-4312-A305-A6973559A963}" dt="2023-07-11T00:14:08.832" v="26" actId="13244"/>
          <ac:spMkLst>
            <pc:docMk/>
            <pc:sldMk cId="156447753" sldId="305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14:12.204" v="27" actId="13244"/>
          <ac:spMkLst>
            <pc:docMk/>
            <pc:sldMk cId="156447753" sldId="305"/>
            <ac:spMk id="9" creationId="{BADF41E3-B302-4C05-B004-242B35D59BFB}"/>
          </ac:spMkLst>
        </pc:spChg>
      </pc:sldChg>
      <pc:sldChg chg="modSp mod">
        <pc:chgData name="Rosa, Crystal" userId="fb74c9b1-33bd-4af2-8565-ea2bdc65fe6b" providerId="ADAL" clId="{5F6D2B90-59AC-4312-A305-A6973559A963}" dt="2023-07-11T00:13:41.291" v="23" actId="13244"/>
        <pc:sldMkLst>
          <pc:docMk/>
          <pc:sldMk cId="1936964873" sldId="307"/>
        </pc:sldMkLst>
        <pc:spChg chg="ord">
          <ac:chgData name="Rosa, Crystal" userId="fb74c9b1-33bd-4af2-8565-ea2bdc65fe6b" providerId="ADAL" clId="{5F6D2B90-59AC-4312-A305-A6973559A963}" dt="2023-07-11T00:13:36.364" v="22" actId="13244"/>
          <ac:spMkLst>
            <pc:docMk/>
            <pc:sldMk cId="1936964873" sldId="307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13:41.291" v="23" actId="13244"/>
          <ac:spMkLst>
            <pc:docMk/>
            <pc:sldMk cId="1936964873" sldId="307"/>
            <ac:spMk id="9" creationId="{BADF41E3-B302-4C05-B004-242B35D59BFB}"/>
          </ac:spMkLst>
        </pc:spChg>
      </pc:sldChg>
      <pc:sldChg chg="modSp mod">
        <pc:chgData name="Rosa, Crystal" userId="fb74c9b1-33bd-4af2-8565-ea2bdc65fe6b" providerId="ADAL" clId="{5F6D2B90-59AC-4312-A305-A6973559A963}" dt="2023-07-11T00:10:57.810" v="16" actId="13244"/>
        <pc:sldMkLst>
          <pc:docMk/>
          <pc:sldMk cId="1963271544" sldId="1132"/>
        </pc:sldMkLst>
        <pc:spChg chg="ord">
          <ac:chgData name="Rosa, Crystal" userId="fb74c9b1-33bd-4af2-8565-ea2bdc65fe6b" providerId="ADAL" clId="{5F6D2B90-59AC-4312-A305-A6973559A963}" dt="2023-07-11T00:08:48.506" v="4" actId="13244"/>
          <ac:spMkLst>
            <pc:docMk/>
            <pc:sldMk cId="1963271544" sldId="1132"/>
            <ac:spMk id="4" creationId="{9DA8C127-7518-02FF-2670-E6AF73DACDE2}"/>
          </ac:spMkLst>
        </pc:spChg>
        <pc:spChg chg="ord">
          <ac:chgData name="Rosa, Crystal" userId="fb74c9b1-33bd-4af2-8565-ea2bdc65fe6b" providerId="ADAL" clId="{5F6D2B90-59AC-4312-A305-A6973559A963}" dt="2023-07-11T00:10:57.810" v="16" actId="13244"/>
          <ac:spMkLst>
            <pc:docMk/>
            <pc:sldMk cId="1963271544" sldId="1132"/>
            <ac:spMk id="26" creationId="{07CE0FFF-B88F-4BF6-A69A-2F7EF781B2CD}"/>
          </ac:spMkLst>
        </pc:spChg>
      </pc:sldChg>
      <pc:sldChg chg="modSp mod delCm">
        <pc:chgData name="Rosa, Crystal" userId="fb74c9b1-33bd-4af2-8565-ea2bdc65fe6b" providerId="ADAL" clId="{5F6D2B90-59AC-4312-A305-A6973559A963}" dt="2023-07-11T00:09:12.382" v="6" actId="13244"/>
        <pc:sldMkLst>
          <pc:docMk/>
          <pc:sldMk cId="3474700355" sldId="1958"/>
        </pc:sldMkLst>
        <pc:spChg chg="ord">
          <ac:chgData name="Rosa, Crystal" userId="fb74c9b1-33bd-4af2-8565-ea2bdc65fe6b" providerId="ADAL" clId="{5F6D2B90-59AC-4312-A305-A6973559A963}" dt="2023-07-11T00:09:02.935" v="5" actId="13244"/>
          <ac:spMkLst>
            <pc:docMk/>
            <pc:sldMk cId="3474700355" sldId="1958"/>
            <ac:spMk id="2" creationId="{A2803681-83BA-14F1-D3BA-1D9F3C619B06}"/>
          </ac:spMkLst>
        </pc:spChg>
        <pc:spChg chg="ord">
          <ac:chgData name="Rosa, Crystal" userId="fb74c9b1-33bd-4af2-8565-ea2bdc65fe6b" providerId="ADAL" clId="{5F6D2B90-59AC-4312-A305-A6973559A963}" dt="2023-07-11T00:09:12.382" v="6" actId="13244"/>
          <ac:spMkLst>
            <pc:docMk/>
            <pc:sldMk cId="3474700355" sldId="1958"/>
            <ac:spMk id="15" creationId="{133C9064-36E8-9E93-C896-7069C24EFB28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Rosa, Crystal" userId="fb74c9b1-33bd-4af2-8565-ea2bdc65fe6b" providerId="ADAL" clId="{5F6D2B90-59AC-4312-A305-A6973559A963}" dt="2023-07-11T00:07:19.389" v="0"/>
              <pc2:cmMkLst xmlns:pc2="http://schemas.microsoft.com/office/powerpoint/2019/9/main/command">
                <pc:docMk/>
                <pc:sldMk cId="3474700355" sldId="1958"/>
                <pc2:cmMk id="{033F00EE-953C-4860-A001-328382969B86}"/>
              </pc2:cmMkLst>
            </pc226:cmChg>
          </p:ext>
        </pc:extLst>
      </pc:sldChg>
      <pc:sldChg chg="modSp mod">
        <pc:chgData name="Rosa, Crystal" userId="fb74c9b1-33bd-4af2-8565-ea2bdc65fe6b" providerId="ADAL" clId="{5F6D2B90-59AC-4312-A305-A6973559A963}" dt="2023-07-11T00:11:32.066" v="17" actId="13244"/>
        <pc:sldMkLst>
          <pc:docMk/>
          <pc:sldMk cId="3992210531" sldId="1962"/>
        </pc:sldMkLst>
        <pc:spChg chg="ord">
          <ac:chgData name="Rosa, Crystal" userId="fb74c9b1-33bd-4af2-8565-ea2bdc65fe6b" providerId="ADAL" clId="{5F6D2B90-59AC-4312-A305-A6973559A963}" dt="2023-07-11T00:11:32.066" v="17" actId="13244"/>
          <ac:spMkLst>
            <pc:docMk/>
            <pc:sldMk cId="3992210531" sldId="1962"/>
            <ac:spMk id="3" creationId="{2088BC24-1734-6419-1D44-083DDAA0362A}"/>
          </ac:spMkLst>
        </pc:spChg>
      </pc:sldChg>
      <pc:sldChg chg="modSp mod">
        <pc:chgData name="Rosa, Crystal" userId="fb74c9b1-33bd-4af2-8565-ea2bdc65fe6b" providerId="ADAL" clId="{5F6D2B90-59AC-4312-A305-A6973559A963}" dt="2023-07-11T00:09:46.111" v="8" actId="13244"/>
        <pc:sldMkLst>
          <pc:docMk/>
          <pc:sldMk cId="1389041451" sldId="1969"/>
        </pc:sldMkLst>
        <pc:spChg chg="ord">
          <ac:chgData name="Rosa, Crystal" userId="fb74c9b1-33bd-4af2-8565-ea2bdc65fe6b" providerId="ADAL" clId="{5F6D2B90-59AC-4312-A305-A6973559A963}" dt="2023-07-11T00:09:44.131" v="7" actId="13244"/>
          <ac:spMkLst>
            <pc:docMk/>
            <pc:sldMk cId="1389041451" sldId="1969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09:46.111" v="8" actId="13244"/>
          <ac:spMkLst>
            <pc:docMk/>
            <pc:sldMk cId="1389041451" sldId="1969"/>
            <ac:spMk id="9" creationId="{BADF41E3-B302-4C05-B004-242B35D59BFB}"/>
          </ac:spMkLst>
        </pc:spChg>
      </pc:sldChg>
      <pc:sldChg chg="modSp mod">
        <pc:chgData name="Rosa, Crystal" userId="fb74c9b1-33bd-4af2-8565-ea2bdc65fe6b" providerId="ADAL" clId="{5F6D2B90-59AC-4312-A305-A6973559A963}" dt="2023-07-11T00:07:49.569" v="1" actId="962"/>
        <pc:sldMkLst>
          <pc:docMk/>
          <pc:sldMk cId="472625034" sldId="1971"/>
        </pc:sldMkLst>
        <pc:spChg chg="mod">
          <ac:chgData name="Rosa, Crystal" userId="fb74c9b1-33bd-4af2-8565-ea2bdc65fe6b" providerId="ADAL" clId="{5F6D2B90-59AC-4312-A305-A6973559A963}" dt="2023-07-11T00:07:49.569" v="1" actId="962"/>
          <ac:spMkLst>
            <pc:docMk/>
            <pc:sldMk cId="472625034" sldId="1971"/>
            <ac:spMk id="6" creationId="{0038D609-7001-4947-92BB-A379E0414168}"/>
          </ac:spMkLst>
        </pc:spChg>
      </pc:sldChg>
      <pc:sldChg chg="modSp mod">
        <pc:chgData name="Rosa, Crystal" userId="fb74c9b1-33bd-4af2-8565-ea2bdc65fe6b" providerId="ADAL" clId="{5F6D2B90-59AC-4312-A305-A6973559A963}" dt="2023-07-11T00:11:42.528" v="19" actId="13244"/>
        <pc:sldMkLst>
          <pc:docMk/>
          <pc:sldMk cId="175234593" sldId="1972"/>
        </pc:sldMkLst>
        <pc:spChg chg="ord">
          <ac:chgData name="Rosa, Crystal" userId="fb74c9b1-33bd-4af2-8565-ea2bdc65fe6b" providerId="ADAL" clId="{5F6D2B90-59AC-4312-A305-A6973559A963}" dt="2023-07-11T00:11:39.928" v="18" actId="13244"/>
          <ac:spMkLst>
            <pc:docMk/>
            <pc:sldMk cId="175234593" sldId="1972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11:42.528" v="19" actId="13244"/>
          <ac:spMkLst>
            <pc:docMk/>
            <pc:sldMk cId="175234593" sldId="1972"/>
            <ac:spMk id="9" creationId="{BADF41E3-B302-4C05-B004-242B35D59BFB}"/>
          </ac:spMkLst>
        </pc:spChg>
      </pc:sldChg>
      <pc:sldChg chg="modSp mod">
        <pc:chgData name="Rosa, Crystal" userId="fb74c9b1-33bd-4af2-8565-ea2bdc65fe6b" providerId="ADAL" clId="{5F6D2B90-59AC-4312-A305-A6973559A963}" dt="2023-07-11T00:13:58.799" v="25" actId="13244"/>
        <pc:sldMkLst>
          <pc:docMk/>
          <pc:sldMk cId="2953531974" sldId="1973"/>
        </pc:sldMkLst>
        <pc:spChg chg="ord">
          <ac:chgData name="Rosa, Crystal" userId="fb74c9b1-33bd-4af2-8565-ea2bdc65fe6b" providerId="ADAL" clId="{5F6D2B90-59AC-4312-A305-A6973559A963}" dt="2023-07-11T00:13:55.459" v="24" actId="13244"/>
          <ac:spMkLst>
            <pc:docMk/>
            <pc:sldMk cId="2953531974" sldId="1973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13:58.799" v="25" actId="13244"/>
          <ac:spMkLst>
            <pc:docMk/>
            <pc:sldMk cId="2953531974" sldId="1973"/>
            <ac:spMk id="9" creationId="{BADF41E3-B302-4C05-B004-242B35D59BFB}"/>
          </ac:spMkLst>
        </pc:spChg>
      </pc:sldChg>
    </pc:docChg>
  </pc:docChgLst>
  <pc:docChgLst>
    <pc:chgData name="Rasmussen, Susanne" userId="0bd74171-9339-45ee-b4ef-ce827adfd046" providerId="ADAL" clId="{9A7DD9CE-4C06-48AB-9E64-1F168ED79126}"/>
    <pc:docChg chg="undo custSel addSld delSld modSld sldOrd addMainMaster delMainMaster">
      <pc:chgData name="Rasmussen, Susanne" userId="0bd74171-9339-45ee-b4ef-ce827adfd046" providerId="ADAL" clId="{9A7DD9CE-4C06-48AB-9E64-1F168ED79126}" dt="2023-07-10T20:26:38.510" v="2304" actId="20577"/>
      <pc:docMkLst>
        <pc:docMk/>
      </pc:docMkLst>
      <pc:sldChg chg="delSp">
        <pc:chgData name="Rasmussen, Susanne" userId="0bd74171-9339-45ee-b4ef-ce827adfd046" providerId="ADAL" clId="{9A7DD9CE-4C06-48AB-9E64-1F168ED79126}" dt="2023-07-06T19:48:15.328" v="1"/>
        <pc:sldMkLst>
          <pc:docMk/>
          <pc:sldMk cId="1323482831" sldId="264"/>
        </pc:sldMkLst>
        <pc:picChg chg="del">
          <ac:chgData name="Rasmussen, Susanne" userId="0bd74171-9339-45ee-b4ef-ce827adfd046" providerId="ADAL" clId="{9A7DD9CE-4C06-48AB-9E64-1F168ED79126}" dt="2023-07-06T19:48:15.328" v="1"/>
          <ac:picMkLst>
            <pc:docMk/>
            <pc:sldMk cId="1323482831" sldId="264"/>
            <ac:picMk id="7" creationId="{93A9D629-E301-7C1B-D60D-C87D336F6BD5}"/>
          </ac:picMkLst>
        </pc:picChg>
      </pc:sldChg>
      <pc:sldChg chg="modSp add del">
        <pc:chgData name="Rasmussen, Susanne" userId="0bd74171-9339-45ee-b4ef-ce827adfd046" providerId="ADAL" clId="{9A7DD9CE-4C06-48AB-9E64-1F168ED79126}" dt="2023-07-07T14:04:06.831" v="378"/>
        <pc:sldMkLst>
          <pc:docMk/>
          <pc:sldMk cId="950041717" sldId="278"/>
        </pc:sldMkLst>
        <pc:spChg chg="mod">
          <ac:chgData name="Rasmussen, Susanne" userId="0bd74171-9339-45ee-b4ef-ce827adfd046" providerId="ADAL" clId="{9A7DD9CE-4C06-48AB-9E64-1F168ED79126}" dt="2023-07-07T14:04:00.546" v="377"/>
          <ac:spMkLst>
            <pc:docMk/>
            <pc:sldMk cId="950041717" sldId="278"/>
            <ac:spMk id="4" creationId="{49C9271C-08C5-F468-50CE-D24ECE6536F2}"/>
          </ac:spMkLst>
        </pc:spChg>
      </pc:sldChg>
      <pc:sldChg chg="del">
        <pc:chgData name="Rasmussen, Susanne" userId="0bd74171-9339-45ee-b4ef-ce827adfd046" providerId="ADAL" clId="{9A7DD9CE-4C06-48AB-9E64-1F168ED79126}" dt="2023-07-07T14:08:10.471" v="387" actId="2696"/>
        <pc:sldMkLst>
          <pc:docMk/>
          <pc:sldMk cId="1472176988" sldId="278"/>
        </pc:sldMkLst>
      </pc:sldChg>
      <pc:sldChg chg="modSp add del mod ord addCm modCm">
        <pc:chgData name="Rasmussen, Susanne" userId="0bd74171-9339-45ee-b4ef-ce827adfd046" providerId="ADAL" clId="{9A7DD9CE-4C06-48AB-9E64-1F168ED79126}" dt="2023-07-07T14:04:40.753" v="383" actId="2696"/>
        <pc:sldMkLst>
          <pc:docMk/>
          <pc:sldMk cId="1529278536" sldId="278"/>
        </pc:sldMkLst>
        <pc:spChg chg="mod">
          <ac:chgData name="Rasmussen, Susanne" userId="0bd74171-9339-45ee-b4ef-ce827adfd046" providerId="ADAL" clId="{9A7DD9CE-4C06-48AB-9E64-1F168ED79126}" dt="2023-07-07T14:04:34.558" v="382" actId="6549"/>
          <ac:spMkLst>
            <pc:docMk/>
            <pc:sldMk cId="1529278536" sldId="278"/>
            <ac:spMk id="3" creationId="{CE00AF81-0EBA-4662-DB3B-512DC8F1AA81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Rasmussen, Susanne" userId="0bd74171-9339-45ee-b4ef-ce827adfd046" providerId="ADAL" clId="{9A7DD9CE-4C06-48AB-9E64-1F168ED79126}" dt="2023-07-07T14:04:34.558" v="382" actId="6549"/>
              <pc2:cmMkLst xmlns:pc2="http://schemas.microsoft.com/office/powerpoint/2019/9/main/command">
                <pc:docMk/>
                <pc:sldMk cId="1529278536" sldId="278"/>
                <pc2:cmMk id="{CC5C75E6-89F2-4960-A8B0-167C582772CE}"/>
              </pc2:cmMkLst>
            </pc226:cmChg>
          </p:ext>
        </pc:extLst>
      </pc:sldChg>
      <pc:sldChg chg="modSp mod addCm modCm">
        <pc:chgData name="Rasmussen, Susanne" userId="0bd74171-9339-45ee-b4ef-ce827adfd046" providerId="ADAL" clId="{9A7DD9CE-4C06-48AB-9E64-1F168ED79126}" dt="2023-07-07T14:30:35.779" v="1201" actId="13926"/>
        <pc:sldMkLst>
          <pc:docMk/>
          <pc:sldMk cId="2346477064" sldId="296"/>
        </pc:sldMkLst>
        <pc:spChg chg="mod">
          <ac:chgData name="Rasmussen, Susanne" userId="0bd74171-9339-45ee-b4ef-ce827adfd046" providerId="ADAL" clId="{9A7DD9CE-4C06-48AB-9E64-1F168ED79126}" dt="2023-07-06T21:37:37.972" v="116" actId="14100"/>
          <ac:spMkLst>
            <pc:docMk/>
            <pc:sldMk cId="2346477064" sldId="296"/>
            <ac:spMk id="16" creationId="{8B3741B8-9816-4D55-42CA-6EFF6F5242E4}"/>
          </ac:spMkLst>
        </pc:spChg>
        <pc:spChg chg="mod">
          <ac:chgData name="Rasmussen, Susanne" userId="0bd74171-9339-45ee-b4ef-ce827adfd046" providerId="ADAL" clId="{9A7DD9CE-4C06-48AB-9E64-1F168ED79126}" dt="2023-07-07T14:30:35.779" v="1201" actId="13926"/>
          <ac:spMkLst>
            <pc:docMk/>
            <pc:sldMk cId="2346477064" sldId="296"/>
            <ac:spMk id="18" creationId="{131F2AF7-DFEE-A6A3-7AB5-0606F78CD218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Rasmussen, Susanne" userId="0bd74171-9339-45ee-b4ef-ce827adfd046" providerId="ADAL" clId="{9A7DD9CE-4C06-48AB-9E64-1F168ED79126}" dt="2023-07-06T21:39:16.043" v="176" actId="20577"/>
              <pc2:cmMkLst xmlns:pc2="http://schemas.microsoft.com/office/powerpoint/2019/9/main/command">
                <pc:docMk/>
                <pc:sldMk cId="2346477064" sldId="296"/>
                <pc2:cmMk id="{05EFD7A6-C967-4A80-B709-16A98EBF4F0F}"/>
              </pc2:cmMkLst>
            </pc226:cmChg>
          </p:ext>
        </pc:extLst>
      </pc:sldChg>
      <pc:sldChg chg="modSp mod">
        <pc:chgData name="Rasmussen, Susanne" userId="0bd74171-9339-45ee-b4ef-ce827adfd046" providerId="ADAL" clId="{9A7DD9CE-4C06-48AB-9E64-1F168ED79126}" dt="2023-07-10T20:19:37.142" v="2166" actId="1076"/>
        <pc:sldMkLst>
          <pc:docMk/>
          <pc:sldMk cId="3259736002" sldId="297"/>
        </pc:sldMkLst>
        <pc:spChg chg="mod">
          <ac:chgData name="Rasmussen, Susanne" userId="0bd74171-9339-45ee-b4ef-ce827adfd046" providerId="ADAL" clId="{9A7DD9CE-4C06-48AB-9E64-1F168ED79126}" dt="2023-07-06T21:41:20.414" v="248" actId="27636"/>
          <ac:spMkLst>
            <pc:docMk/>
            <pc:sldMk cId="3259736002" sldId="297"/>
            <ac:spMk id="3" creationId="{06AC962A-FABE-4F14-91E7-A91AD417ADFF}"/>
          </ac:spMkLst>
        </pc:spChg>
        <pc:spChg chg="mod">
          <ac:chgData name="Rasmussen, Susanne" userId="0bd74171-9339-45ee-b4ef-ce827adfd046" providerId="ADAL" clId="{9A7DD9CE-4C06-48AB-9E64-1F168ED79126}" dt="2023-07-10T20:19:37.142" v="2166" actId="1076"/>
          <ac:spMkLst>
            <pc:docMk/>
            <pc:sldMk cId="3259736002" sldId="297"/>
            <ac:spMk id="6" creationId="{0038D609-7001-4947-92BB-A379E0414168}"/>
          </ac:spMkLst>
        </pc:spChg>
      </pc:sldChg>
      <pc:sldChg chg="modSp mod">
        <pc:chgData name="Rasmussen, Susanne" userId="0bd74171-9339-45ee-b4ef-ce827adfd046" providerId="ADAL" clId="{9A7DD9CE-4C06-48AB-9E64-1F168ED79126}" dt="2023-07-10T20:23:48.092" v="2228" actId="20577"/>
        <pc:sldMkLst>
          <pc:docMk/>
          <pc:sldMk cId="343359655" sldId="300"/>
        </pc:sldMkLst>
        <pc:spChg chg="mod">
          <ac:chgData name="Rasmussen, Susanne" userId="0bd74171-9339-45ee-b4ef-ce827adfd046" providerId="ADAL" clId="{9A7DD9CE-4C06-48AB-9E64-1F168ED79126}" dt="2023-07-10T20:23:48.092" v="2228" actId="20577"/>
          <ac:spMkLst>
            <pc:docMk/>
            <pc:sldMk cId="343359655" sldId="300"/>
            <ac:spMk id="3" creationId="{06AC962A-FABE-4F14-91E7-A91AD417ADFF}"/>
          </ac:spMkLst>
        </pc:spChg>
      </pc:sldChg>
      <pc:sldChg chg="modSp mod addCm">
        <pc:chgData name="Rasmussen, Susanne" userId="0bd74171-9339-45ee-b4ef-ce827adfd046" providerId="ADAL" clId="{9A7DD9CE-4C06-48AB-9E64-1F168ED79126}" dt="2023-07-07T15:00:33.482" v="1923"/>
        <pc:sldMkLst>
          <pc:docMk/>
          <pc:sldMk cId="813981643" sldId="301"/>
        </pc:sldMkLst>
        <pc:spChg chg="mod">
          <ac:chgData name="Rasmussen, Susanne" userId="0bd74171-9339-45ee-b4ef-ce827adfd046" providerId="ADAL" clId="{9A7DD9CE-4C06-48AB-9E64-1F168ED79126}" dt="2023-07-07T14:33:00.280" v="1314" actId="6549"/>
          <ac:spMkLst>
            <pc:docMk/>
            <pc:sldMk cId="813981643" sldId="301"/>
            <ac:spMk id="3" creationId="{06AC962A-FABE-4F14-91E7-A91AD417ADFF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Rasmussen, Susanne" userId="0bd74171-9339-45ee-b4ef-ce827adfd046" providerId="ADAL" clId="{9A7DD9CE-4C06-48AB-9E64-1F168ED79126}" dt="2023-07-07T15:00:33.482" v="1923"/>
              <pc2:cmMkLst xmlns:pc2="http://schemas.microsoft.com/office/powerpoint/2019/9/main/command">
                <pc:docMk/>
                <pc:sldMk cId="813981643" sldId="301"/>
                <pc2:cmMk id="{2524FC28-B0DE-4EBD-B50F-DFD147B4412B}"/>
              </pc2:cmMkLst>
            </pc226:cmChg>
          </p:ext>
        </pc:extLst>
      </pc:sldChg>
      <pc:sldChg chg="modSp mod">
        <pc:chgData name="Rasmussen, Susanne" userId="0bd74171-9339-45ee-b4ef-ce827adfd046" providerId="ADAL" clId="{9A7DD9CE-4C06-48AB-9E64-1F168ED79126}" dt="2023-07-07T14:55:16.131" v="1756" actId="15"/>
        <pc:sldMkLst>
          <pc:docMk/>
          <pc:sldMk cId="780403188" sldId="302"/>
        </pc:sldMkLst>
        <pc:spChg chg="mod">
          <ac:chgData name="Rasmussen, Susanne" userId="0bd74171-9339-45ee-b4ef-ce827adfd046" providerId="ADAL" clId="{9A7DD9CE-4C06-48AB-9E64-1F168ED79126}" dt="2023-07-07T14:55:16.131" v="1756" actId="15"/>
          <ac:spMkLst>
            <pc:docMk/>
            <pc:sldMk cId="780403188" sldId="302"/>
            <ac:spMk id="3" creationId="{06AC962A-FABE-4F14-91E7-A91AD417ADFF}"/>
          </ac:spMkLst>
        </pc:spChg>
      </pc:sldChg>
      <pc:sldChg chg="modSp mod ord">
        <pc:chgData name="Rasmussen, Susanne" userId="0bd74171-9339-45ee-b4ef-ce827adfd046" providerId="ADAL" clId="{9A7DD9CE-4C06-48AB-9E64-1F168ED79126}" dt="2023-07-10T20:03:48.596" v="2148"/>
        <pc:sldMkLst>
          <pc:docMk/>
          <pc:sldMk cId="1650613911" sldId="303"/>
        </pc:sldMkLst>
        <pc:spChg chg="mod">
          <ac:chgData name="Rasmussen, Susanne" userId="0bd74171-9339-45ee-b4ef-ce827adfd046" providerId="ADAL" clId="{9A7DD9CE-4C06-48AB-9E64-1F168ED79126}" dt="2023-07-07T14:58:23.121" v="1921" actId="6549"/>
          <ac:spMkLst>
            <pc:docMk/>
            <pc:sldMk cId="1650613911" sldId="303"/>
            <ac:spMk id="11" creationId="{80375151-8B20-3D8C-FEBF-EF4330089FFA}"/>
          </ac:spMkLst>
        </pc:spChg>
        <pc:graphicFrameChg chg="mod">
          <ac:chgData name="Rasmussen, Susanne" userId="0bd74171-9339-45ee-b4ef-ce827adfd046" providerId="ADAL" clId="{9A7DD9CE-4C06-48AB-9E64-1F168ED79126}" dt="2023-07-10T20:03:48.596" v="2148"/>
          <ac:graphicFrameMkLst>
            <pc:docMk/>
            <pc:sldMk cId="1650613911" sldId="303"/>
            <ac:graphicFrameMk id="3" creationId="{4D729383-A3E2-ABBC-94AE-375541A950E8}"/>
          </ac:graphicFrameMkLst>
        </pc:graphicFrameChg>
      </pc:sldChg>
      <pc:sldChg chg="modSp mod">
        <pc:chgData name="Rasmussen, Susanne" userId="0bd74171-9339-45ee-b4ef-ce827adfd046" providerId="ADAL" clId="{9A7DD9CE-4C06-48AB-9E64-1F168ED79126}" dt="2023-07-07T14:25:21.019" v="1181" actId="113"/>
        <pc:sldMkLst>
          <pc:docMk/>
          <pc:sldMk cId="1054884385" sldId="304"/>
        </pc:sldMkLst>
        <pc:spChg chg="mod">
          <ac:chgData name="Rasmussen, Susanne" userId="0bd74171-9339-45ee-b4ef-ce827adfd046" providerId="ADAL" clId="{9A7DD9CE-4C06-48AB-9E64-1F168ED79126}" dt="2023-07-07T14:25:21.019" v="1181" actId="113"/>
          <ac:spMkLst>
            <pc:docMk/>
            <pc:sldMk cId="1054884385" sldId="304"/>
            <ac:spMk id="4" creationId="{DC0520D7-75CC-508B-69FB-965CE40BDC11}"/>
          </ac:spMkLst>
        </pc:spChg>
      </pc:sldChg>
      <pc:sldChg chg="modSp add del mod">
        <pc:chgData name="Rasmussen, Susanne" userId="0bd74171-9339-45ee-b4ef-ce827adfd046" providerId="ADAL" clId="{9A7DD9CE-4C06-48AB-9E64-1F168ED79126}" dt="2023-07-10T20:14:36.741" v="2153" actId="20577"/>
        <pc:sldMkLst>
          <pc:docMk/>
          <pc:sldMk cId="156447753" sldId="305"/>
        </pc:sldMkLst>
        <pc:spChg chg="mod">
          <ac:chgData name="Rasmussen, Susanne" userId="0bd74171-9339-45ee-b4ef-ce827adfd046" providerId="ADAL" clId="{9A7DD9CE-4C06-48AB-9E64-1F168ED79126}" dt="2023-07-10T20:14:36.741" v="2153" actId="20577"/>
          <ac:spMkLst>
            <pc:docMk/>
            <pc:sldMk cId="156447753" sldId="305"/>
            <ac:spMk id="2" creationId="{71ECDFDF-B56B-4C43-BBBF-D35CEE5E475F}"/>
          </ac:spMkLst>
        </pc:spChg>
      </pc:sldChg>
      <pc:sldChg chg="modSp mod">
        <pc:chgData name="Rasmussen, Susanne" userId="0bd74171-9339-45ee-b4ef-ce827adfd046" providerId="ADAL" clId="{9A7DD9CE-4C06-48AB-9E64-1F168ED79126}" dt="2023-07-07T14:58:56.967" v="1922" actId="113"/>
        <pc:sldMkLst>
          <pc:docMk/>
          <pc:sldMk cId="2315025724" sldId="306"/>
        </pc:sldMkLst>
        <pc:spChg chg="mod">
          <ac:chgData name="Rasmussen, Susanne" userId="0bd74171-9339-45ee-b4ef-ce827adfd046" providerId="ADAL" clId="{9A7DD9CE-4C06-48AB-9E64-1F168ED79126}" dt="2023-07-07T14:58:56.967" v="1922" actId="113"/>
          <ac:spMkLst>
            <pc:docMk/>
            <pc:sldMk cId="2315025724" sldId="306"/>
            <ac:spMk id="4" creationId="{8990CD60-0CD7-30BE-F23E-6D1FBD124C0E}"/>
          </ac:spMkLst>
        </pc:spChg>
        <pc:picChg chg="mod">
          <ac:chgData name="Rasmussen, Susanne" userId="0bd74171-9339-45ee-b4ef-ce827adfd046" providerId="ADAL" clId="{9A7DD9CE-4C06-48AB-9E64-1F168ED79126}" dt="2023-07-07T14:26:33.705" v="1187" actId="1076"/>
          <ac:picMkLst>
            <pc:docMk/>
            <pc:sldMk cId="2315025724" sldId="306"/>
            <ac:picMk id="50" creationId="{A1F8D0D6-16E7-918C-6278-B9522CE6D9E9}"/>
          </ac:picMkLst>
        </pc:picChg>
      </pc:sldChg>
      <pc:sldChg chg="modSp mod">
        <pc:chgData name="Rasmussen, Susanne" userId="0bd74171-9339-45ee-b4ef-ce827adfd046" providerId="ADAL" clId="{9A7DD9CE-4C06-48AB-9E64-1F168ED79126}" dt="2023-07-06T21:36:01.542" v="114" actId="14100"/>
        <pc:sldMkLst>
          <pc:docMk/>
          <pc:sldMk cId="1936964873" sldId="307"/>
        </pc:sldMkLst>
        <pc:spChg chg="mod">
          <ac:chgData name="Rasmussen, Susanne" userId="0bd74171-9339-45ee-b4ef-ce827adfd046" providerId="ADAL" clId="{9A7DD9CE-4C06-48AB-9E64-1F168ED79126}" dt="2023-07-06T21:36:01.542" v="114" actId="14100"/>
          <ac:spMkLst>
            <pc:docMk/>
            <pc:sldMk cId="1936964873" sldId="307"/>
            <ac:spMk id="2" creationId="{71ECDFDF-B56B-4C43-BBBF-D35CEE5E475F}"/>
          </ac:spMkLst>
        </pc:spChg>
      </pc:sldChg>
      <pc:sldChg chg="modSp mod">
        <pc:chgData name="Rasmussen, Susanne" userId="0bd74171-9339-45ee-b4ef-ce827adfd046" providerId="ADAL" clId="{9A7DD9CE-4C06-48AB-9E64-1F168ED79126}" dt="2023-07-07T14:30:14.929" v="1200" actId="20577"/>
        <pc:sldMkLst>
          <pc:docMk/>
          <pc:sldMk cId="2338493111" sldId="308"/>
        </pc:sldMkLst>
        <pc:spChg chg="mod">
          <ac:chgData name="Rasmussen, Susanne" userId="0bd74171-9339-45ee-b4ef-ce827adfd046" providerId="ADAL" clId="{9A7DD9CE-4C06-48AB-9E64-1F168ED79126}" dt="2023-07-06T21:36:28.090" v="115" actId="14100"/>
          <ac:spMkLst>
            <pc:docMk/>
            <pc:sldMk cId="2338493111" sldId="308"/>
            <ac:spMk id="2" creationId="{71ECDFDF-B56B-4C43-BBBF-D35CEE5E475F}"/>
          </ac:spMkLst>
        </pc:spChg>
        <pc:spChg chg="mod">
          <ac:chgData name="Rasmussen, Susanne" userId="0bd74171-9339-45ee-b4ef-ce827adfd046" providerId="ADAL" clId="{9A7DD9CE-4C06-48AB-9E64-1F168ED79126}" dt="2023-07-07T14:30:14.929" v="1200" actId="20577"/>
          <ac:spMkLst>
            <pc:docMk/>
            <pc:sldMk cId="2338493111" sldId="308"/>
            <ac:spMk id="3" creationId="{06AC962A-FABE-4F14-91E7-A91AD417ADFF}"/>
          </ac:spMkLst>
        </pc:spChg>
      </pc:sldChg>
      <pc:sldChg chg="addSp delSp modSp new del mod setBg modClrScheme chgLayout">
        <pc:chgData name="Rasmussen, Susanne" userId="0bd74171-9339-45ee-b4ef-ce827adfd046" providerId="ADAL" clId="{9A7DD9CE-4C06-48AB-9E64-1F168ED79126}" dt="2023-07-06T19:57:59.865" v="60" actId="47"/>
        <pc:sldMkLst>
          <pc:docMk/>
          <pc:sldMk cId="423623425" sldId="309"/>
        </pc:sldMkLst>
        <pc:spChg chg="del mod">
          <ac:chgData name="Rasmussen, Susanne" userId="0bd74171-9339-45ee-b4ef-ce827adfd046" providerId="ADAL" clId="{9A7DD9CE-4C06-48AB-9E64-1F168ED79126}" dt="2023-07-06T19:49:04.100" v="9" actId="700"/>
          <ac:spMkLst>
            <pc:docMk/>
            <pc:sldMk cId="423623425" sldId="309"/>
            <ac:spMk id="2" creationId="{7345F0FA-9671-2615-2FFB-9AA17315AB23}"/>
          </ac:spMkLst>
        </pc:spChg>
        <pc:spChg chg="del mod">
          <ac:chgData name="Rasmussen, Susanne" userId="0bd74171-9339-45ee-b4ef-ce827adfd046" providerId="ADAL" clId="{9A7DD9CE-4C06-48AB-9E64-1F168ED79126}" dt="2023-07-06T19:49:04.100" v="9" actId="700"/>
          <ac:spMkLst>
            <pc:docMk/>
            <pc:sldMk cId="423623425" sldId="309"/>
            <ac:spMk id="3" creationId="{DD80122B-42DC-A435-94F5-23EE9C5D66C9}"/>
          </ac:spMkLst>
        </pc:spChg>
        <pc:spChg chg="del mod ord">
          <ac:chgData name="Rasmussen, Susanne" userId="0bd74171-9339-45ee-b4ef-ce827adfd046" providerId="ADAL" clId="{9A7DD9CE-4C06-48AB-9E64-1F168ED79126}" dt="2023-07-06T19:49:16.382" v="10" actId="21"/>
          <ac:spMkLst>
            <pc:docMk/>
            <pc:sldMk cId="423623425" sldId="309"/>
            <ac:spMk id="4" creationId="{716B7422-A3A6-9628-79DE-219B04C77CC8}"/>
          </ac:spMkLst>
        </pc:spChg>
        <pc:spChg chg="add mod">
          <ac:chgData name="Rasmussen, Susanne" userId="0bd74171-9339-45ee-b4ef-ce827adfd046" providerId="ADAL" clId="{9A7DD9CE-4C06-48AB-9E64-1F168ED79126}" dt="2023-07-06T19:49:49.808" v="56" actId="20577"/>
          <ac:spMkLst>
            <pc:docMk/>
            <pc:sldMk cId="423623425" sldId="309"/>
            <ac:spMk id="6" creationId="{51E00123-ED21-B6A3-DFB3-3751FB2CCFB4}"/>
          </ac:spMkLst>
        </pc:spChg>
        <pc:spChg chg="add del">
          <ac:chgData name="Rasmussen, Susanne" userId="0bd74171-9339-45ee-b4ef-ce827adfd046" providerId="ADAL" clId="{9A7DD9CE-4C06-48AB-9E64-1F168ED79126}" dt="2023-07-06T19:48:51.485" v="5" actId="26606"/>
          <ac:spMkLst>
            <pc:docMk/>
            <pc:sldMk cId="423623425" sldId="309"/>
            <ac:spMk id="10" creationId="{1A95671B-3CC6-4792-9114-B74FAEA224E6}"/>
          </ac:spMkLst>
        </pc:spChg>
        <pc:spChg chg="add del">
          <ac:chgData name="Rasmussen, Susanne" userId="0bd74171-9339-45ee-b4ef-ce827adfd046" providerId="ADAL" clId="{9A7DD9CE-4C06-48AB-9E64-1F168ED79126}" dt="2023-07-06T19:48:57.630" v="7" actId="26606"/>
          <ac:spMkLst>
            <pc:docMk/>
            <pc:sldMk cId="423623425" sldId="309"/>
            <ac:spMk id="12" creationId="{2E92FA66-67D7-4CB4-94D3-E643A9AD4757}"/>
          </ac:spMkLst>
        </pc:spChg>
        <pc:spChg chg="add del">
          <ac:chgData name="Rasmussen, Susanne" userId="0bd74171-9339-45ee-b4ef-ce827adfd046" providerId="ADAL" clId="{9A7DD9CE-4C06-48AB-9E64-1F168ED79126}" dt="2023-07-06T19:48:57.630" v="7" actId="26606"/>
          <ac:spMkLst>
            <pc:docMk/>
            <pc:sldMk cId="423623425" sldId="309"/>
            <ac:spMk id="13" creationId="{32AEEBC8-9D30-42EF-95F2-386C2653FBF0}"/>
          </ac:spMkLst>
        </pc:spChg>
        <pc:picChg chg="add del mod">
          <ac:chgData name="Rasmussen, Susanne" userId="0bd74171-9339-45ee-b4ef-ce827adfd046" providerId="ADAL" clId="{9A7DD9CE-4C06-48AB-9E64-1F168ED79126}" dt="2023-07-06T19:48:58.317" v="8"/>
          <ac:picMkLst>
            <pc:docMk/>
            <pc:sldMk cId="423623425" sldId="309"/>
            <ac:picMk id="5" creationId="{C39D09ED-4913-A157-396B-4AB9D3E1B337}"/>
          </ac:picMkLst>
        </pc:picChg>
      </pc:sldChg>
      <pc:sldChg chg="addSp delSp modSp add del mod addCm delCm modCm">
        <pc:chgData name="Rasmussen, Susanne" userId="0bd74171-9339-45ee-b4ef-ce827adfd046" providerId="ADAL" clId="{9A7DD9CE-4C06-48AB-9E64-1F168ED79126}" dt="2023-07-10T19:45:58.431" v="1983" actId="1076"/>
        <pc:sldMkLst>
          <pc:docMk/>
          <pc:sldMk cId="1963271544" sldId="1132"/>
        </pc:sldMkLst>
        <pc:spChg chg="mod">
          <ac:chgData name="Rasmussen, Susanne" userId="0bd74171-9339-45ee-b4ef-ce827adfd046" providerId="ADAL" clId="{9A7DD9CE-4C06-48AB-9E64-1F168ED79126}" dt="2023-07-10T19:45:18.125" v="1978" actId="20577"/>
          <ac:spMkLst>
            <pc:docMk/>
            <pc:sldMk cId="1963271544" sldId="1132"/>
            <ac:spMk id="2" creationId="{5B1EE775-0DD9-9523-89D7-58F9EA9BC236}"/>
          </ac:spMkLst>
        </pc:spChg>
        <pc:spChg chg="del">
          <ac:chgData name="Rasmussen, Susanne" userId="0bd74171-9339-45ee-b4ef-ce827adfd046" providerId="ADAL" clId="{9A7DD9CE-4C06-48AB-9E64-1F168ED79126}" dt="2023-07-07T13:54:58.938" v="273" actId="478"/>
          <ac:spMkLst>
            <pc:docMk/>
            <pc:sldMk cId="1963271544" sldId="1132"/>
            <ac:spMk id="2" creationId="{BBDA4065-88E1-CB35-2B13-48FB8543E0E4}"/>
          </ac:spMkLst>
        </pc:spChg>
        <pc:spChg chg="mod">
          <ac:chgData name="Rasmussen, Susanne" userId="0bd74171-9339-45ee-b4ef-ce827adfd046" providerId="ADAL" clId="{9A7DD9CE-4C06-48AB-9E64-1F168ED79126}" dt="2023-07-07T13:56:32.658" v="299" actId="20577"/>
          <ac:spMkLst>
            <pc:docMk/>
            <pc:sldMk cId="1963271544" sldId="1132"/>
            <ac:spMk id="3" creationId="{5759D7FB-62D6-BB6F-C5C9-3B1CCCF65691}"/>
          </ac:spMkLst>
        </pc:spChg>
        <pc:spChg chg="add del mod">
          <ac:chgData name="Rasmussen, Susanne" userId="0bd74171-9339-45ee-b4ef-ce827adfd046" providerId="ADAL" clId="{9A7DD9CE-4C06-48AB-9E64-1F168ED79126}" dt="2023-07-07T14:54:39.161" v="1752" actId="478"/>
          <ac:spMkLst>
            <pc:docMk/>
            <pc:sldMk cId="1963271544" sldId="1132"/>
            <ac:spMk id="4" creationId="{670C3D09-07E7-B241-89DC-3F3804B5FEF1}"/>
          </ac:spMkLst>
        </pc:spChg>
        <pc:spChg chg="mod">
          <ac:chgData name="Rasmussen, Susanne" userId="0bd74171-9339-45ee-b4ef-ce827adfd046" providerId="ADAL" clId="{9A7DD9CE-4C06-48AB-9E64-1F168ED79126}" dt="2023-07-07T14:00:54.023" v="372" actId="255"/>
          <ac:spMkLst>
            <pc:docMk/>
            <pc:sldMk cId="1963271544" sldId="1132"/>
            <ac:spMk id="5" creationId="{D8AC20E5-DC45-4CD6-B89A-B6A38FF880E8}"/>
          </ac:spMkLst>
        </pc:spChg>
        <pc:spChg chg="mod">
          <ac:chgData name="Rasmussen, Susanne" userId="0bd74171-9339-45ee-b4ef-ce827adfd046" providerId="ADAL" clId="{9A7DD9CE-4C06-48AB-9E64-1F168ED79126}" dt="2023-07-10T19:45:58.431" v="1983" actId="1076"/>
          <ac:spMkLst>
            <pc:docMk/>
            <pc:sldMk cId="1963271544" sldId="1132"/>
            <ac:spMk id="26" creationId="{07CE0FFF-B88F-4BF6-A69A-2F7EF781B2CD}"/>
          </ac:spMkLst>
        </pc:spChg>
        <pc:spChg chg="mod">
          <ac:chgData name="Rasmussen, Susanne" userId="0bd74171-9339-45ee-b4ef-ce827adfd046" providerId="ADAL" clId="{9A7DD9CE-4C06-48AB-9E64-1F168ED79126}" dt="2023-07-10T19:45:27.536" v="1979" actId="14100"/>
          <ac:spMkLst>
            <pc:docMk/>
            <pc:sldMk cId="1963271544" sldId="1132"/>
            <ac:spMk id="31" creationId="{303B9770-7DE8-9A95-C80B-6C4BC1773EAF}"/>
          </ac:spMkLst>
        </pc:spChg>
        <pc:spChg chg="del mod">
          <ac:chgData name="Rasmussen, Susanne" userId="0bd74171-9339-45ee-b4ef-ce827adfd046" providerId="ADAL" clId="{9A7DD9CE-4C06-48AB-9E64-1F168ED79126}" dt="2023-07-07T13:56:43.936" v="304"/>
          <ac:spMkLst>
            <pc:docMk/>
            <pc:sldMk cId="1963271544" sldId="1132"/>
            <ac:spMk id="33" creationId="{1F475A43-2268-E230-5BE5-E632D789BBF4}"/>
          </ac:spMkLst>
        </pc:spChg>
        <pc:spChg chg="del">
          <ac:chgData name="Rasmussen, Susanne" userId="0bd74171-9339-45ee-b4ef-ce827adfd046" providerId="ADAL" clId="{9A7DD9CE-4C06-48AB-9E64-1F168ED79126}" dt="2023-07-07T13:54:49.578" v="272" actId="478"/>
          <ac:spMkLst>
            <pc:docMk/>
            <pc:sldMk cId="1963271544" sldId="1132"/>
            <ac:spMk id="34" creationId="{9DA36592-C8CB-6F68-4698-6622C2B1FFAC}"/>
          </ac:spMkLst>
        </pc:spChg>
        <pc:spChg chg="mod">
          <ac:chgData name="Rasmussen, Susanne" userId="0bd74171-9339-45ee-b4ef-ce827adfd046" providerId="ADAL" clId="{9A7DD9CE-4C06-48AB-9E64-1F168ED79126}" dt="2023-07-07T13:57:37.803" v="349" actId="1076"/>
          <ac:spMkLst>
            <pc:docMk/>
            <pc:sldMk cId="1963271544" sldId="1132"/>
            <ac:spMk id="36" creationId="{6FB8B396-EED3-716E-D977-D502528D3820}"/>
          </ac:spMkLst>
        </pc:spChg>
        <pc:spChg chg="del mod">
          <ac:chgData name="Rasmussen, Susanne" userId="0bd74171-9339-45ee-b4ef-ce827adfd046" providerId="ADAL" clId="{9A7DD9CE-4C06-48AB-9E64-1F168ED79126}" dt="2023-07-07T13:56:43.933" v="302" actId="478"/>
          <ac:spMkLst>
            <pc:docMk/>
            <pc:sldMk cId="1963271544" sldId="1132"/>
            <ac:spMk id="37" creationId="{0ABA9CF4-B889-EF54-9B25-A0E620A313BB}"/>
          </ac:spMkLst>
        </pc:spChg>
        <pc:spChg chg="del">
          <ac:chgData name="Rasmussen, Susanne" userId="0bd74171-9339-45ee-b4ef-ce827adfd046" providerId="ADAL" clId="{9A7DD9CE-4C06-48AB-9E64-1F168ED79126}" dt="2023-07-07T13:56:49.698" v="305" actId="478"/>
          <ac:spMkLst>
            <pc:docMk/>
            <pc:sldMk cId="1963271544" sldId="1132"/>
            <ac:spMk id="38" creationId="{1FC56601-DDBB-6B00-5935-D6880BDC64F4}"/>
          </ac:spMkLst>
        </pc:spChg>
        <pc:spChg chg="del">
          <ac:chgData name="Rasmussen, Susanne" userId="0bd74171-9339-45ee-b4ef-ce827adfd046" providerId="ADAL" clId="{9A7DD9CE-4C06-48AB-9E64-1F168ED79126}" dt="2023-07-07T13:56:52.873" v="306" actId="478"/>
          <ac:spMkLst>
            <pc:docMk/>
            <pc:sldMk cId="1963271544" sldId="1132"/>
            <ac:spMk id="39" creationId="{26875C22-5238-98F0-EAAA-97CC34537A61}"/>
          </ac:spMkLst>
        </pc:spChg>
        <pc:spChg chg="mod">
          <ac:chgData name="Rasmussen, Susanne" userId="0bd74171-9339-45ee-b4ef-ce827adfd046" providerId="ADAL" clId="{9A7DD9CE-4C06-48AB-9E64-1F168ED79126}" dt="2023-07-07T13:57:05.914" v="329" actId="20577"/>
          <ac:spMkLst>
            <pc:docMk/>
            <pc:sldMk cId="1963271544" sldId="1132"/>
            <ac:spMk id="41" creationId="{704DE6C9-AC7E-1F98-3669-B39F0EE75E90}"/>
          </ac:spMkLst>
        </pc:spChg>
        <pc:spChg chg="mod">
          <ac:chgData name="Rasmussen, Susanne" userId="0bd74171-9339-45ee-b4ef-ce827adfd046" providerId="ADAL" clId="{9A7DD9CE-4C06-48AB-9E64-1F168ED79126}" dt="2023-07-07T13:57:24.683" v="348" actId="20577"/>
          <ac:spMkLst>
            <pc:docMk/>
            <pc:sldMk cId="1963271544" sldId="1132"/>
            <ac:spMk id="43" creationId="{6B9F7C1F-C9E0-0271-6B62-C62315ADA57A}"/>
          </ac:spMkLst>
        </pc:spChg>
        <pc:picChg chg="del">
          <ac:chgData name="Rasmussen, Susanne" userId="0bd74171-9339-45ee-b4ef-ce827adfd046" providerId="ADAL" clId="{9A7DD9CE-4C06-48AB-9E64-1F168ED79126}" dt="2023-07-07T14:54:07.770" v="1734" actId="478"/>
          <ac:picMkLst>
            <pc:docMk/>
            <pc:sldMk cId="1963271544" sldId="1132"/>
            <ac:picMk id="29" creationId="{AC002397-621C-9D22-968A-0F8F3BECC236}"/>
          </ac:picMkLst>
        </pc:picChg>
        <pc:picChg chg="del">
          <ac:chgData name="Rasmussen, Susanne" userId="0bd74171-9339-45ee-b4ef-ce827adfd046" providerId="ADAL" clId="{9A7DD9CE-4C06-48AB-9E64-1F168ED79126}" dt="2023-07-07T13:56:05.060" v="275" actId="478"/>
          <ac:picMkLst>
            <pc:docMk/>
            <pc:sldMk cId="1963271544" sldId="1132"/>
            <ac:picMk id="40" creationId="{C43D7905-F9FB-D8C2-4013-0844646D3571}"/>
          </ac:picMkLst>
        </pc:picChg>
        <pc:picChg chg="del">
          <ac:chgData name="Rasmussen, Susanne" userId="0bd74171-9339-45ee-b4ef-ce827adfd046" providerId="ADAL" clId="{9A7DD9CE-4C06-48AB-9E64-1F168ED79126}" dt="2023-07-07T13:56:07.226" v="276" actId="478"/>
          <ac:picMkLst>
            <pc:docMk/>
            <pc:sldMk cId="1963271544" sldId="1132"/>
            <ac:picMk id="42" creationId="{442414D0-CD4B-7890-03C2-880A3199594A}"/>
          </ac:picMkLst>
        </pc:picChg>
        <pc:picChg chg="mod">
          <ac:chgData name="Rasmussen, Susanne" userId="0bd74171-9339-45ee-b4ef-ce827adfd046" providerId="ADAL" clId="{9A7DD9CE-4C06-48AB-9E64-1F168ED79126}" dt="2023-07-07T13:57:43.316" v="350" actId="1076"/>
          <ac:picMkLst>
            <pc:docMk/>
            <pc:sldMk cId="1963271544" sldId="1132"/>
            <ac:picMk id="44" creationId="{1D84CAB1-A4FA-DFEC-E329-9F6B4A370D2B}"/>
          </ac:picMkLst>
        </pc:picChg>
        <pc:picChg chg="del">
          <ac:chgData name="Rasmussen, Susanne" userId="0bd74171-9339-45ee-b4ef-ce827adfd046" providerId="ADAL" clId="{9A7DD9CE-4C06-48AB-9E64-1F168ED79126}" dt="2023-07-07T13:56:10.715" v="277" actId="478"/>
          <ac:picMkLst>
            <pc:docMk/>
            <pc:sldMk cId="1963271544" sldId="1132"/>
            <ac:picMk id="1026" creationId="{73855049-45F5-7C24-3812-47BA5445E916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 del mod">
              <pc226:chgData name="Rasmussen, Susanne" userId="0bd74171-9339-45ee-b4ef-ce827adfd046" providerId="ADAL" clId="{9A7DD9CE-4C06-48AB-9E64-1F168ED79126}" dt="2023-07-10T13:49:21.662" v="1946"/>
              <pc2:cmMkLst xmlns:pc2="http://schemas.microsoft.com/office/powerpoint/2019/9/main/command">
                <pc:docMk/>
                <pc:sldMk cId="1963271544" sldId="1132"/>
                <pc2:cmMk id="{69E4B366-BD72-4D1B-9B07-3B5D0AF1E6B5}"/>
              </pc2:cmMkLst>
            </pc226:cmChg>
            <pc226:cmChg xmlns:pc226="http://schemas.microsoft.com/office/powerpoint/2022/06/main/command" chg="add">
              <pc226:chgData name="Rasmussen, Susanne" userId="0bd74171-9339-45ee-b4ef-ce827adfd046" providerId="ADAL" clId="{9A7DD9CE-4C06-48AB-9E64-1F168ED79126}" dt="2023-07-07T14:54:58.744" v="1753"/>
              <pc2:cmMkLst xmlns:pc2="http://schemas.microsoft.com/office/powerpoint/2019/9/main/command">
                <pc:docMk/>
                <pc:sldMk cId="1963271544" sldId="1132"/>
                <pc2:cmMk id="{A13E80A7-6CFD-46C4-82A0-FE38D3E55361}"/>
              </pc2:cmMkLst>
            </pc226:cmChg>
          </p:ext>
        </pc:extLst>
      </pc:sldChg>
      <pc:sldChg chg="modSp add mod addCm modCm">
        <pc:chgData name="Rasmussen, Susanne" userId="0bd74171-9339-45ee-b4ef-ce827adfd046" providerId="ADAL" clId="{9A7DD9CE-4C06-48AB-9E64-1F168ED79126}" dt="2023-07-10T19:47:07.839" v="1988" actId="1076"/>
        <pc:sldMkLst>
          <pc:docMk/>
          <pc:sldMk cId="3474700355" sldId="1958"/>
        </pc:sldMkLst>
        <pc:spChg chg="mod">
          <ac:chgData name="Rasmussen, Susanne" userId="0bd74171-9339-45ee-b4ef-ce827adfd046" providerId="ADAL" clId="{9A7DD9CE-4C06-48AB-9E64-1F168ED79126}" dt="2023-07-06T19:58:40.762" v="113" actId="255"/>
          <ac:spMkLst>
            <pc:docMk/>
            <pc:sldMk cId="3474700355" sldId="1958"/>
            <ac:spMk id="3" creationId="{00000000-0000-0000-0000-000000000000}"/>
          </ac:spMkLst>
        </pc:spChg>
        <pc:spChg chg="mod">
          <ac:chgData name="Rasmussen, Susanne" userId="0bd74171-9339-45ee-b4ef-ce827adfd046" providerId="ADAL" clId="{9A7DD9CE-4C06-48AB-9E64-1F168ED79126}" dt="2023-07-10T19:47:07.839" v="1988" actId="1076"/>
          <ac:spMkLst>
            <pc:docMk/>
            <pc:sldMk cId="3474700355" sldId="1958"/>
            <ac:spMk id="14" creationId="{9C52EBCC-05CF-19D1-CA36-2D2D0F98314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Rasmussen, Susanne" userId="0bd74171-9339-45ee-b4ef-ce827adfd046" providerId="ADAL" clId="{9A7DD9CE-4C06-48AB-9E64-1F168ED79126}" dt="2023-07-10T16:07:21.221" v="1948" actId="2056"/>
              <pc2:cmMkLst xmlns:pc2="http://schemas.microsoft.com/office/powerpoint/2019/9/main/command">
                <pc:docMk/>
                <pc:sldMk cId="3474700355" sldId="1958"/>
                <pc2:cmMk id="{033F00EE-953C-4860-A001-328382969B86}"/>
              </pc2:cmMkLst>
            </pc226:cmChg>
          </p:ext>
        </pc:extLst>
      </pc:sldChg>
      <pc:sldChg chg="new del">
        <pc:chgData name="Rasmussen, Susanne" userId="0bd74171-9339-45ee-b4ef-ce827adfd046" providerId="ADAL" clId="{9A7DD9CE-4C06-48AB-9E64-1F168ED79126}" dt="2023-07-07T13:54:22.992" v="271" actId="47"/>
        <pc:sldMkLst>
          <pc:docMk/>
          <pc:sldMk cId="1053603940" sldId="1959"/>
        </pc:sldMkLst>
      </pc:sldChg>
      <pc:sldChg chg="modSp new mod ord addCm">
        <pc:chgData name="Rasmussen, Susanne" userId="0bd74171-9339-45ee-b4ef-ce827adfd046" providerId="ADAL" clId="{9A7DD9CE-4C06-48AB-9E64-1F168ED79126}" dt="2023-07-07T14:22:10.800" v="948"/>
        <pc:sldMkLst>
          <pc:docMk/>
          <pc:sldMk cId="2430331712" sldId="1959"/>
        </pc:sldMkLst>
        <pc:spChg chg="mod">
          <ac:chgData name="Rasmussen, Susanne" userId="0bd74171-9339-45ee-b4ef-ce827adfd046" providerId="ADAL" clId="{9A7DD9CE-4C06-48AB-9E64-1F168ED79126}" dt="2023-07-07T14:08:18.846" v="397" actId="20577"/>
          <ac:spMkLst>
            <pc:docMk/>
            <pc:sldMk cId="2430331712" sldId="1959"/>
            <ac:spMk id="2" creationId="{EF02FA0B-7DF3-377C-E6DD-58B3DDD23032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Rasmussen, Susanne" userId="0bd74171-9339-45ee-b4ef-ce827adfd046" providerId="ADAL" clId="{9A7DD9CE-4C06-48AB-9E64-1F168ED79126}" dt="2023-07-07T14:22:10.800" v="948"/>
              <pc2:cmMkLst xmlns:pc2="http://schemas.microsoft.com/office/powerpoint/2019/9/main/command">
                <pc:docMk/>
                <pc:sldMk cId="2430331712" sldId="1959"/>
                <pc2:cmMk id="{B9100A68-20E0-40AE-B9E8-48E7EB1DD9F6}"/>
              </pc2:cmMkLst>
            </pc226:cmChg>
          </p:ext>
        </pc:extLst>
      </pc:sldChg>
      <pc:sldChg chg="new del">
        <pc:chgData name="Rasmussen, Susanne" userId="0bd74171-9339-45ee-b4ef-ce827adfd046" providerId="ADAL" clId="{9A7DD9CE-4C06-48AB-9E64-1F168ED79126}" dt="2023-07-07T14:04:08.472" v="379" actId="680"/>
        <pc:sldMkLst>
          <pc:docMk/>
          <pc:sldMk cId="2884284115" sldId="1959"/>
        </pc:sldMkLst>
      </pc:sldChg>
      <pc:sldChg chg="modSp new mod">
        <pc:chgData name="Rasmussen, Susanne" userId="0bd74171-9339-45ee-b4ef-ce827adfd046" providerId="ADAL" clId="{9A7DD9CE-4C06-48AB-9E64-1F168ED79126}" dt="2023-07-07T14:13:32.174" v="598" actId="20577"/>
        <pc:sldMkLst>
          <pc:docMk/>
          <pc:sldMk cId="2586051300" sldId="1960"/>
        </pc:sldMkLst>
        <pc:spChg chg="mod">
          <ac:chgData name="Rasmussen, Susanne" userId="0bd74171-9339-45ee-b4ef-ce827adfd046" providerId="ADAL" clId="{9A7DD9CE-4C06-48AB-9E64-1F168ED79126}" dt="2023-07-07T14:13:32.174" v="598" actId="20577"/>
          <ac:spMkLst>
            <pc:docMk/>
            <pc:sldMk cId="2586051300" sldId="1960"/>
            <ac:spMk id="2" creationId="{EA54E674-98BE-F547-F05C-BFA2BDCDE48C}"/>
          </ac:spMkLst>
        </pc:spChg>
      </pc:sldChg>
      <pc:sldChg chg="modSp new mod">
        <pc:chgData name="Rasmussen, Susanne" userId="0bd74171-9339-45ee-b4ef-ce827adfd046" providerId="ADAL" clId="{9A7DD9CE-4C06-48AB-9E64-1F168ED79126}" dt="2023-07-07T14:14:05.294" v="620" actId="20577"/>
        <pc:sldMkLst>
          <pc:docMk/>
          <pc:sldMk cId="215532766" sldId="1961"/>
        </pc:sldMkLst>
        <pc:spChg chg="mod">
          <ac:chgData name="Rasmussen, Susanne" userId="0bd74171-9339-45ee-b4ef-ce827adfd046" providerId="ADAL" clId="{9A7DD9CE-4C06-48AB-9E64-1F168ED79126}" dt="2023-07-07T14:14:05.294" v="620" actId="20577"/>
          <ac:spMkLst>
            <pc:docMk/>
            <pc:sldMk cId="215532766" sldId="1961"/>
            <ac:spMk id="2" creationId="{0CE8F6E8-232D-EC94-A4BD-B35E9920B880}"/>
          </ac:spMkLst>
        </pc:spChg>
      </pc:sldChg>
      <pc:sldChg chg="modSp new mod">
        <pc:chgData name="Rasmussen, Susanne" userId="0bd74171-9339-45ee-b4ef-ce827adfd046" providerId="ADAL" clId="{9A7DD9CE-4C06-48AB-9E64-1F168ED79126}" dt="2023-07-07T14:16:00.455" v="736" actId="20577"/>
        <pc:sldMkLst>
          <pc:docMk/>
          <pc:sldMk cId="3992210531" sldId="1962"/>
        </pc:sldMkLst>
        <pc:spChg chg="mod">
          <ac:chgData name="Rasmussen, Susanne" userId="0bd74171-9339-45ee-b4ef-ce827adfd046" providerId="ADAL" clId="{9A7DD9CE-4C06-48AB-9E64-1F168ED79126}" dt="2023-07-07T14:16:00.455" v="736" actId="20577"/>
          <ac:spMkLst>
            <pc:docMk/>
            <pc:sldMk cId="3992210531" sldId="1962"/>
            <ac:spMk id="2" creationId="{DE36F9E6-0A9D-439D-3475-E572CB064060}"/>
          </ac:spMkLst>
        </pc:spChg>
        <pc:spChg chg="mod">
          <ac:chgData name="Rasmussen, Susanne" userId="0bd74171-9339-45ee-b4ef-ce827adfd046" providerId="ADAL" clId="{9A7DD9CE-4C06-48AB-9E64-1F168ED79126}" dt="2023-07-07T14:15:33.949" v="710" actId="20577"/>
          <ac:spMkLst>
            <pc:docMk/>
            <pc:sldMk cId="3992210531" sldId="1962"/>
            <ac:spMk id="3" creationId="{2088BC24-1734-6419-1D44-083DDAA0362A}"/>
          </ac:spMkLst>
        </pc:spChg>
      </pc:sldChg>
      <pc:sldChg chg="modSp new mod ord">
        <pc:chgData name="Rasmussen, Susanne" userId="0bd74171-9339-45ee-b4ef-ce827adfd046" providerId="ADAL" clId="{9A7DD9CE-4C06-48AB-9E64-1F168ED79126}" dt="2023-07-07T14:53:58.780" v="1733" actId="20578"/>
        <pc:sldMkLst>
          <pc:docMk/>
          <pc:sldMk cId="4255861837" sldId="1963"/>
        </pc:sldMkLst>
        <pc:spChg chg="mod">
          <ac:chgData name="Rasmussen, Susanne" userId="0bd74171-9339-45ee-b4ef-ce827adfd046" providerId="ADAL" clId="{9A7DD9CE-4C06-48AB-9E64-1F168ED79126}" dt="2023-07-07T14:15:47.321" v="720" actId="20577"/>
          <ac:spMkLst>
            <pc:docMk/>
            <pc:sldMk cId="4255861837" sldId="1963"/>
            <ac:spMk id="2" creationId="{CC9D4750-C48F-670C-D69A-E66A407DCA40}"/>
          </ac:spMkLst>
        </pc:spChg>
      </pc:sldChg>
      <pc:sldChg chg="modSp new mod">
        <pc:chgData name="Rasmussen, Susanne" userId="0bd74171-9339-45ee-b4ef-ce827adfd046" providerId="ADAL" clId="{9A7DD9CE-4C06-48AB-9E64-1F168ED79126}" dt="2023-07-07T14:23:04.637" v="1088" actId="20577"/>
        <pc:sldMkLst>
          <pc:docMk/>
          <pc:sldMk cId="738356794" sldId="1965"/>
        </pc:sldMkLst>
        <pc:spChg chg="mod">
          <ac:chgData name="Rasmussen, Susanne" userId="0bd74171-9339-45ee-b4ef-ce827adfd046" providerId="ADAL" clId="{9A7DD9CE-4C06-48AB-9E64-1F168ED79126}" dt="2023-07-07T14:23:04.637" v="1088" actId="20577"/>
          <ac:spMkLst>
            <pc:docMk/>
            <pc:sldMk cId="738356794" sldId="1965"/>
            <ac:spMk id="2" creationId="{9C6D02C6-5C3E-B2A3-3E7C-A5EA0958B6DE}"/>
          </ac:spMkLst>
        </pc:spChg>
      </pc:sldChg>
      <pc:sldChg chg="modSp mod">
        <pc:chgData name="Rasmussen, Susanne" userId="0bd74171-9339-45ee-b4ef-ce827adfd046" providerId="ADAL" clId="{9A7DD9CE-4C06-48AB-9E64-1F168ED79126}" dt="2023-07-10T20:02:18.645" v="2146" actId="20577"/>
        <pc:sldMkLst>
          <pc:docMk/>
          <pc:sldMk cId="1389041451" sldId="1969"/>
        </pc:sldMkLst>
        <pc:spChg chg="mod">
          <ac:chgData name="Rasmussen, Susanne" userId="0bd74171-9339-45ee-b4ef-ce827adfd046" providerId="ADAL" clId="{9A7DD9CE-4C06-48AB-9E64-1F168ED79126}" dt="2023-07-10T20:02:18.645" v="2146" actId="20577"/>
          <ac:spMkLst>
            <pc:docMk/>
            <pc:sldMk cId="1389041451" sldId="1969"/>
            <ac:spMk id="11" creationId="{80375151-8B20-3D8C-FEBF-EF4330089FFA}"/>
          </ac:spMkLst>
        </pc:spChg>
      </pc:sldChg>
      <pc:sldChg chg="modSp mod">
        <pc:chgData name="Rasmussen, Susanne" userId="0bd74171-9339-45ee-b4ef-ce827adfd046" providerId="ADAL" clId="{9A7DD9CE-4C06-48AB-9E64-1F168ED79126}" dt="2023-07-10T20:26:38.510" v="2304" actId="20577"/>
        <pc:sldMkLst>
          <pc:docMk/>
          <pc:sldMk cId="472625034" sldId="1971"/>
        </pc:sldMkLst>
        <pc:spChg chg="mod">
          <ac:chgData name="Rasmussen, Susanne" userId="0bd74171-9339-45ee-b4ef-ce827adfd046" providerId="ADAL" clId="{9A7DD9CE-4C06-48AB-9E64-1F168ED79126}" dt="2023-07-10T20:26:38.510" v="2304" actId="20577"/>
          <ac:spMkLst>
            <pc:docMk/>
            <pc:sldMk cId="472625034" sldId="1971"/>
            <ac:spMk id="3" creationId="{06AC962A-FABE-4F14-91E7-A91AD417ADFF}"/>
          </ac:spMkLst>
        </pc:spChg>
      </pc:sldChg>
      <pc:sldChg chg="modSp mod">
        <pc:chgData name="Rasmussen, Susanne" userId="0bd74171-9339-45ee-b4ef-ce827adfd046" providerId="ADAL" clId="{9A7DD9CE-4C06-48AB-9E64-1F168ED79126}" dt="2023-07-10T20:17:09.913" v="2165" actId="20577"/>
        <pc:sldMkLst>
          <pc:docMk/>
          <pc:sldMk cId="1745514758" sldId="1974"/>
        </pc:sldMkLst>
        <pc:spChg chg="mod">
          <ac:chgData name="Rasmussen, Susanne" userId="0bd74171-9339-45ee-b4ef-ce827adfd046" providerId="ADAL" clId="{9A7DD9CE-4C06-48AB-9E64-1F168ED79126}" dt="2023-07-10T20:17:09.913" v="2165" actId="20577"/>
          <ac:spMkLst>
            <pc:docMk/>
            <pc:sldMk cId="1745514758" sldId="1974"/>
            <ac:spMk id="3" creationId="{06AC962A-FABE-4F14-91E7-A91AD417ADFF}"/>
          </ac:spMkLst>
        </pc:spChg>
      </pc:sldChg>
      <pc:sldChg chg="modSp mod">
        <pc:chgData name="Rasmussen, Susanne" userId="0bd74171-9339-45ee-b4ef-ce827adfd046" providerId="ADAL" clId="{9A7DD9CE-4C06-48AB-9E64-1F168ED79126}" dt="2023-07-10T20:22:43.005" v="2200" actId="115"/>
        <pc:sldMkLst>
          <pc:docMk/>
          <pc:sldMk cId="2184168918" sldId="1975"/>
        </pc:sldMkLst>
        <pc:spChg chg="mod">
          <ac:chgData name="Rasmussen, Susanne" userId="0bd74171-9339-45ee-b4ef-ce827adfd046" providerId="ADAL" clId="{9A7DD9CE-4C06-48AB-9E64-1F168ED79126}" dt="2023-07-10T20:21:38.159" v="2182" actId="20577"/>
          <ac:spMkLst>
            <pc:docMk/>
            <pc:sldMk cId="2184168918" sldId="1975"/>
            <ac:spMk id="2" creationId="{71ECDFDF-B56B-4C43-BBBF-D35CEE5E475F}"/>
          </ac:spMkLst>
        </pc:spChg>
        <pc:spChg chg="mod">
          <ac:chgData name="Rasmussen, Susanne" userId="0bd74171-9339-45ee-b4ef-ce827adfd046" providerId="ADAL" clId="{9A7DD9CE-4C06-48AB-9E64-1F168ED79126}" dt="2023-07-10T20:22:43.005" v="2200" actId="115"/>
          <ac:spMkLst>
            <pc:docMk/>
            <pc:sldMk cId="2184168918" sldId="1975"/>
            <ac:spMk id="3" creationId="{06AC962A-FABE-4F14-91E7-A91AD417ADFF}"/>
          </ac:spMkLst>
        </pc:spChg>
        <pc:spChg chg="mod">
          <ac:chgData name="Rasmussen, Susanne" userId="0bd74171-9339-45ee-b4ef-ce827adfd046" providerId="ADAL" clId="{9A7DD9CE-4C06-48AB-9E64-1F168ED79126}" dt="2023-07-10T20:21:16.574" v="2169" actId="1076"/>
          <ac:spMkLst>
            <pc:docMk/>
            <pc:sldMk cId="2184168918" sldId="1975"/>
            <ac:spMk id="6" creationId="{0038D609-7001-4947-92BB-A379E0414168}"/>
          </ac:spMkLst>
        </pc:spChg>
      </pc:sldChg>
      <pc:sldChg chg="modSp mod">
        <pc:chgData name="Rasmussen, Susanne" userId="0bd74171-9339-45ee-b4ef-ce827adfd046" providerId="ADAL" clId="{9A7DD9CE-4C06-48AB-9E64-1F168ED79126}" dt="2023-07-10T20:26:03.261" v="2299" actId="20577"/>
        <pc:sldMkLst>
          <pc:docMk/>
          <pc:sldMk cId="1562900042" sldId="1976"/>
        </pc:sldMkLst>
        <pc:spChg chg="mod">
          <ac:chgData name="Rasmussen, Susanne" userId="0bd74171-9339-45ee-b4ef-ce827adfd046" providerId="ADAL" clId="{9A7DD9CE-4C06-48AB-9E64-1F168ED79126}" dt="2023-07-10T20:26:03.261" v="2299" actId="20577"/>
          <ac:spMkLst>
            <pc:docMk/>
            <pc:sldMk cId="1562900042" sldId="1976"/>
            <ac:spMk id="2" creationId="{71ECDFDF-B56B-4C43-BBBF-D35CEE5E475F}"/>
          </ac:spMkLst>
        </pc:spChg>
        <pc:spChg chg="mod">
          <ac:chgData name="Rasmussen, Susanne" userId="0bd74171-9339-45ee-b4ef-ce827adfd046" providerId="ADAL" clId="{9A7DD9CE-4C06-48AB-9E64-1F168ED79126}" dt="2023-07-10T20:25:11.008" v="2287" actId="6549"/>
          <ac:spMkLst>
            <pc:docMk/>
            <pc:sldMk cId="1562900042" sldId="1976"/>
            <ac:spMk id="3" creationId="{06AC962A-FABE-4F14-91E7-A91AD417ADFF}"/>
          </ac:spMkLst>
        </pc:spChg>
      </pc:sldChg>
      <pc:sldMasterChg chg="add del addSldLayout delSldLayout">
        <pc:chgData name="Rasmussen, Susanne" userId="0bd74171-9339-45ee-b4ef-ce827adfd046" providerId="ADAL" clId="{9A7DD9CE-4C06-48AB-9E64-1F168ED79126}" dt="2023-07-07T14:04:40.753" v="383" actId="2696"/>
        <pc:sldMasterMkLst>
          <pc:docMk/>
          <pc:sldMasterMk cId="723420972" sldId="2147483685"/>
        </pc:sldMasterMkLst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2217919563" sldId="2147483686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187513814" sldId="2147483687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201841186" sldId="2147483688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213091132" sldId="2147483689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2864693851" sldId="2147483690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2145278145" sldId="2147483691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1918431508" sldId="2147483692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486642063" sldId="2147483693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3150040562" sldId="2147483694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2957499613" sldId="2147483695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3288134071" sldId="2147483696"/>
          </pc:sldLayoutMkLst>
        </pc:sldLayoutChg>
      </pc:sldMasterChg>
    </pc:docChg>
  </pc:docChgLst>
  <pc:docChgLst>
    <pc:chgData name="Rasmussen, Susanne" userId="S::srasmussen@cambridgema.gov::0bd74171-9339-45ee-b4ef-ce827adfd046" providerId="AD" clId="Web-{869CF6D6-46B0-29D9-8935-6925DBD103E0}"/>
    <pc:docChg chg="delSld">
      <pc:chgData name="Rasmussen, Susanne" userId="S::srasmussen@cambridgema.gov::0bd74171-9339-45ee-b4ef-ce827adfd046" providerId="AD" clId="Web-{869CF6D6-46B0-29D9-8935-6925DBD103E0}" dt="2023-07-07T18:04:24.348" v="3"/>
      <pc:docMkLst>
        <pc:docMk/>
      </pc:docMkLst>
      <pc:sldChg chg="del">
        <pc:chgData name="Rasmussen, Susanne" userId="S::srasmussen@cambridgema.gov::0bd74171-9339-45ee-b4ef-ce827adfd046" providerId="AD" clId="Web-{869CF6D6-46B0-29D9-8935-6925DBD103E0}" dt="2023-07-07T18:04:24.348" v="3"/>
        <pc:sldMkLst>
          <pc:docMk/>
          <pc:sldMk cId="1155239185" sldId="299"/>
        </pc:sldMkLst>
      </pc:sldChg>
      <pc:sldChg chg="delCm">
        <pc:chgData name="Rasmussen, Susanne" userId="S::srasmussen@cambridgema.gov::0bd74171-9339-45ee-b4ef-ce827adfd046" providerId="AD" clId="Web-{869CF6D6-46B0-29D9-8935-6925DBD103E0}" dt="2023-07-07T18:04:10.910" v="2"/>
        <pc:sldMkLst>
          <pc:docMk/>
          <pc:sldMk cId="813981643" sldId="301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Rasmussen, Susanne" userId="S::srasmussen@cambridgema.gov::0bd74171-9339-45ee-b4ef-ce827adfd046" providerId="AD" clId="Web-{869CF6D6-46B0-29D9-8935-6925DBD103E0}" dt="2023-07-07T18:04:10.910" v="2"/>
              <pc2:cmMkLst xmlns:pc2="http://schemas.microsoft.com/office/powerpoint/2019/9/main/command">
                <pc:docMk/>
                <pc:sldMk cId="813981643" sldId="301"/>
                <pc2:cmMk id="{2524FC28-B0DE-4EBD-B50F-DFD147B4412B}"/>
              </pc2:cmMkLst>
            </pc226:cmChg>
          </p:ext>
        </pc:extLst>
      </pc:sldChg>
      <pc:sldChg chg="delCm">
        <pc:chgData name="Rasmussen, Susanne" userId="S::srasmussen@cambridgema.gov::0bd74171-9339-45ee-b4ef-ce827adfd046" providerId="AD" clId="Web-{869CF6D6-46B0-29D9-8935-6925DBD103E0}" dt="2023-07-07T18:03:38.190" v="1"/>
        <pc:sldMkLst>
          <pc:docMk/>
          <pc:sldMk cId="2338493111" sldId="308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Rasmussen, Susanne" userId="S::srasmussen@cambridgema.gov::0bd74171-9339-45ee-b4ef-ce827adfd046" providerId="AD" clId="Web-{869CF6D6-46B0-29D9-8935-6925DBD103E0}" dt="2023-07-07T18:03:38.190" v="1"/>
              <pc2:cmMkLst xmlns:pc2="http://schemas.microsoft.com/office/powerpoint/2019/9/main/command">
                <pc:docMk/>
                <pc:sldMk cId="2338493111" sldId="308"/>
                <pc2:cmMk id="{04F58FA7-7559-47E9-805C-3A35D8504660}"/>
              </pc2:cmMkLst>
            </pc226:cmChg>
          </p:ext>
        </pc:extLst>
      </pc:sldChg>
      <pc:sldChg chg="delCm">
        <pc:chgData name="Rasmussen, Susanne" userId="S::srasmussen@cambridgema.gov::0bd74171-9339-45ee-b4ef-ce827adfd046" providerId="AD" clId="Web-{869CF6D6-46B0-29D9-8935-6925DBD103E0}" dt="2023-07-07T18:03:04.470" v="0"/>
        <pc:sldMkLst>
          <pc:docMk/>
          <pc:sldMk cId="1963271544" sldId="1132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Rasmussen, Susanne" userId="S::srasmussen@cambridgema.gov::0bd74171-9339-45ee-b4ef-ce827adfd046" providerId="AD" clId="Web-{869CF6D6-46B0-29D9-8935-6925DBD103E0}" dt="2023-07-07T18:03:04.470" v="0"/>
              <pc2:cmMkLst xmlns:pc2="http://schemas.microsoft.com/office/powerpoint/2019/9/main/command">
                <pc:docMk/>
                <pc:sldMk cId="1963271544" sldId="1132"/>
                <pc2:cmMk id="{A13E80A7-6CFD-46C4-82A0-FE38D3E55361}"/>
              </pc2:cmMkLst>
            </pc226:cmChg>
          </p:ext>
        </pc:extLst>
      </pc:sldChg>
    </pc:docChg>
  </pc:docChgLst>
  <pc:docChgLst>
    <pc:chgData name="Rosa, Crystal" userId="fb74c9b1-33bd-4af2-8565-ea2bdc65fe6b" providerId="ADAL" clId="{A3511153-53A3-41F8-82F5-EA40A4524BE7}"/>
    <pc:docChg chg="modSld">
      <pc:chgData name="Rosa, Crystal" userId="fb74c9b1-33bd-4af2-8565-ea2bdc65fe6b" providerId="ADAL" clId="{A3511153-53A3-41F8-82F5-EA40A4524BE7}" dt="2023-07-13T21:40:53.845" v="127" actId="404"/>
      <pc:docMkLst>
        <pc:docMk/>
      </pc:docMkLst>
      <pc:sldChg chg="modSp mod">
        <pc:chgData name="Rosa, Crystal" userId="fb74c9b1-33bd-4af2-8565-ea2bdc65fe6b" providerId="ADAL" clId="{A3511153-53A3-41F8-82F5-EA40A4524BE7}" dt="2023-07-13T21:34:25.840" v="16" actId="14100"/>
        <pc:sldMkLst>
          <pc:docMk/>
          <pc:sldMk cId="1323482831" sldId="264"/>
        </pc:sldMkLst>
        <pc:spChg chg="mod">
          <ac:chgData name="Rosa, Crystal" userId="fb74c9b1-33bd-4af2-8565-ea2bdc65fe6b" providerId="ADAL" clId="{A3511153-53A3-41F8-82F5-EA40A4524BE7}" dt="2023-07-13T21:34:25.840" v="16" actId="14100"/>
          <ac:spMkLst>
            <pc:docMk/>
            <pc:sldMk cId="1323482831" sldId="264"/>
            <ac:spMk id="2" creationId="{75B90E77-7E96-13CD-A0C5-93F1CBBC75ED}"/>
          </ac:spMkLst>
        </pc:spChg>
      </pc:sldChg>
      <pc:sldChg chg="modSp mod">
        <pc:chgData name="Rosa, Crystal" userId="fb74c9b1-33bd-4af2-8565-ea2bdc65fe6b" providerId="ADAL" clId="{A3511153-53A3-41F8-82F5-EA40A4524BE7}" dt="2023-07-13T21:38:50.503" v="96" actId="404"/>
        <pc:sldMkLst>
          <pc:docMk/>
          <pc:sldMk cId="443159585" sldId="295"/>
        </pc:sldMkLst>
        <pc:spChg chg="mod">
          <ac:chgData name="Rosa, Crystal" userId="fb74c9b1-33bd-4af2-8565-ea2bdc65fe6b" providerId="ADAL" clId="{A3511153-53A3-41F8-82F5-EA40A4524BE7}" dt="2023-07-13T21:38:50.503" v="96" actId="404"/>
          <ac:spMkLst>
            <pc:docMk/>
            <pc:sldMk cId="443159585" sldId="295"/>
            <ac:spMk id="2" creationId="{71ECDFDF-B56B-4C43-BBBF-D35CEE5E475F}"/>
          </ac:spMkLst>
        </pc:spChg>
        <pc:spChg chg="mod">
          <ac:chgData name="Rosa, Crystal" userId="fb74c9b1-33bd-4af2-8565-ea2bdc65fe6b" providerId="ADAL" clId="{A3511153-53A3-41F8-82F5-EA40A4524BE7}" dt="2023-07-13T21:38:46.731" v="95" actId="404"/>
          <ac:spMkLst>
            <pc:docMk/>
            <pc:sldMk cId="443159585" sldId="295"/>
            <ac:spMk id="3" creationId="{06AC962A-FABE-4F14-91E7-A91AD417ADFF}"/>
          </ac:spMkLst>
        </pc:spChg>
      </pc:sldChg>
      <pc:sldChg chg="modSp mod">
        <pc:chgData name="Rosa, Crystal" userId="fb74c9b1-33bd-4af2-8565-ea2bdc65fe6b" providerId="ADAL" clId="{A3511153-53A3-41F8-82F5-EA40A4524BE7}" dt="2023-07-13T21:39:04.158" v="100" actId="404"/>
        <pc:sldMkLst>
          <pc:docMk/>
          <pc:sldMk cId="2346477064" sldId="296"/>
        </pc:sldMkLst>
        <pc:spChg chg="mod">
          <ac:chgData name="Rosa, Crystal" userId="fb74c9b1-33bd-4af2-8565-ea2bdc65fe6b" providerId="ADAL" clId="{A3511153-53A3-41F8-82F5-EA40A4524BE7}" dt="2023-07-13T21:38:55.243" v="97" actId="404"/>
          <ac:spMkLst>
            <pc:docMk/>
            <pc:sldMk cId="2346477064" sldId="296"/>
            <ac:spMk id="2" creationId="{71ECDFDF-B56B-4C43-BBBF-D35CEE5E475F}"/>
          </ac:spMkLst>
        </pc:spChg>
        <pc:spChg chg="mod">
          <ac:chgData name="Rosa, Crystal" userId="fb74c9b1-33bd-4af2-8565-ea2bdc65fe6b" providerId="ADAL" clId="{A3511153-53A3-41F8-82F5-EA40A4524BE7}" dt="2023-07-13T21:38:59.895" v="99" actId="404"/>
          <ac:spMkLst>
            <pc:docMk/>
            <pc:sldMk cId="2346477064" sldId="296"/>
            <ac:spMk id="3" creationId="{06AC962A-FABE-4F14-91E7-A91AD417ADFF}"/>
          </ac:spMkLst>
        </pc:spChg>
        <pc:spChg chg="mod">
          <ac:chgData name="Rosa, Crystal" userId="fb74c9b1-33bd-4af2-8565-ea2bdc65fe6b" providerId="ADAL" clId="{A3511153-53A3-41F8-82F5-EA40A4524BE7}" dt="2023-07-13T21:39:04.158" v="100" actId="404"/>
          <ac:spMkLst>
            <pc:docMk/>
            <pc:sldMk cId="2346477064" sldId="296"/>
            <ac:spMk id="18" creationId="{131F2AF7-DFEE-A6A3-7AB5-0606F78CD218}"/>
          </ac:spMkLst>
        </pc:spChg>
      </pc:sldChg>
      <pc:sldChg chg="modSp mod">
        <pc:chgData name="Rosa, Crystal" userId="fb74c9b1-33bd-4af2-8565-ea2bdc65fe6b" providerId="ADAL" clId="{A3511153-53A3-41F8-82F5-EA40A4524BE7}" dt="2023-07-13T21:39:22.481" v="103" actId="14100"/>
        <pc:sldMkLst>
          <pc:docMk/>
          <pc:sldMk cId="3259736002" sldId="297"/>
        </pc:sldMkLst>
        <pc:spChg chg="mod">
          <ac:chgData name="Rosa, Crystal" userId="fb74c9b1-33bd-4af2-8565-ea2bdc65fe6b" providerId="ADAL" clId="{A3511153-53A3-41F8-82F5-EA40A4524BE7}" dt="2023-07-13T21:39:13.906" v="102" actId="404"/>
          <ac:spMkLst>
            <pc:docMk/>
            <pc:sldMk cId="3259736002" sldId="297"/>
            <ac:spMk id="2" creationId="{71ECDFDF-B56B-4C43-BBBF-D35CEE5E475F}"/>
          </ac:spMkLst>
        </pc:spChg>
        <pc:spChg chg="mod">
          <ac:chgData name="Rosa, Crystal" userId="fb74c9b1-33bd-4af2-8565-ea2bdc65fe6b" providerId="ADAL" clId="{A3511153-53A3-41F8-82F5-EA40A4524BE7}" dt="2023-07-13T21:39:22.481" v="103" actId="14100"/>
          <ac:spMkLst>
            <pc:docMk/>
            <pc:sldMk cId="3259736002" sldId="297"/>
            <ac:spMk id="4" creationId="{96B35D68-DDEC-DA4B-6BA6-36BEC583C076}"/>
          </ac:spMkLst>
        </pc:spChg>
      </pc:sldChg>
      <pc:sldChg chg="modSp mod">
        <pc:chgData name="Rosa, Crystal" userId="fb74c9b1-33bd-4af2-8565-ea2bdc65fe6b" providerId="ADAL" clId="{A3511153-53A3-41F8-82F5-EA40A4524BE7}" dt="2023-07-13T21:39:49.022" v="109" actId="1076"/>
        <pc:sldMkLst>
          <pc:docMk/>
          <pc:sldMk cId="3755849851" sldId="298"/>
        </pc:sldMkLst>
        <pc:spChg chg="mod">
          <ac:chgData name="Rosa, Crystal" userId="fb74c9b1-33bd-4af2-8565-ea2bdc65fe6b" providerId="ADAL" clId="{A3511153-53A3-41F8-82F5-EA40A4524BE7}" dt="2023-07-13T21:39:49.022" v="109" actId="1076"/>
          <ac:spMkLst>
            <pc:docMk/>
            <pc:sldMk cId="3755849851" sldId="298"/>
            <ac:spMk id="2" creationId="{71ECDFDF-B56B-4C43-BBBF-D35CEE5E475F}"/>
          </ac:spMkLst>
        </pc:spChg>
        <pc:spChg chg="mod">
          <ac:chgData name="Rosa, Crystal" userId="fb74c9b1-33bd-4af2-8565-ea2bdc65fe6b" providerId="ADAL" clId="{A3511153-53A3-41F8-82F5-EA40A4524BE7}" dt="2023-07-13T21:39:45.570" v="108" actId="14100"/>
          <ac:spMkLst>
            <pc:docMk/>
            <pc:sldMk cId="3755849851" sldId="298"/>
            <ac:spMk id="3" creationId="{06AC962A-FABE-4F14-91E7-A91AD417ADFF}"/>
          </ac:spMkLst>
        </pc:spChg>
      </pc:sldChg>
      <pc:sldChg chg="modSp mod">
        <pc:chgData name="Rosa, Crystal" userId="fb74c9b1-33bd-4af2-8565-ea2bdc65fe6b" providerId="ADAL" clId="{A3511153-53A3-41F8-82F5-EA40A4524BE7}" dt="2023-07-13T21:39:58.960" v="111" actId="404"/>
        <pc:sldMkLst>
          <pc:docMk/>
          <pc:sldMk cId="343359655" sldId="300"/>
        </pc:sldMkLst>
        <pc:spChg chg="mod">
          <ac:chgData name="Rosa, Crystal" userId="fb74c9b1-33bd-4af2-8565-ea2bdc65fe6b" providerId="ADAL" clId="{A3511153-53A3-41F8-82F5-EA40A4524BE7}" dt="2023-07-13T21:39:55.727" v="110" actId="404"/>
          <ac:spMkLst>
            <pc:docMk/>
            <pc:sldMk cId="343359655" sldId="300"/>
            <ac:spMk id="2" creationId="{71ECDFDF-B56B-4C43-BBBF-D35CEE5E475F}"/>
          </ac:spMkLst>
        </pc:spChg>
        <pc:spChg chg="mod">
          <ac:chgData name="Rosa, Crystal" userId="fb74c9b1-33bd-4af2-8565-ea2bdc65fe6b" providerId="ADAL" clId="{A3511153-53A3-41F8-82F5-EA40A4524BE7}" dt="2023-07-13T21:39:58.960" v="111" actId="404"/>
          <ac:spMkLst>
            <pc:docMk/>
            <pc:sldMk cId="343359655" sldId="300"/>
            <ac:spMk id="3" creationId="{06AC962A-FABE-4F14-91E7-A91AD417ADFF}"/>
          </ac:spMkLst>
        </pc:spChg>
      </pc:sldChg>
      <pc:sldChg chg="modSp mod">
        <pc:chgData name="Rosa, Crystal" userId="fb74c9b1-33bd-4af2-8565-ea2bdc65fe6b" providerId="ADAL" clId="{A3511153-53A3-41F8-82F5-EA40A4524BE7}" dt="2023-07-13T21:35:17.556" v="36" actId="404"/>
        <pc:sldMkLst>
          <pc:docMk/>
          <pc:sldMk cId="780403188" sldId="302"/>
        </pc:sldMkLst>
        <pc:spChg chg="mod">
          <ac:chgData name="Rosa, Crystal" userId="fb74c9b1-33bd-4af2-8565-ea2bdc65fe6b" providerId="ADAL" clId="{A3511153-53A3-41F8-82F5-EA40A4524BE7}" dt="2023-07-13T21:35:17.556" v="36" actId="404"/>
          <ac:spMkLst>
            <pc:docMk/>
            <pc:sldMk cId="780403188" sldId="302"/>
            <ac:spMk id="3" creationId="{06AC962A-FABE-4F14-91E7-A91AD417ADFF}"/>
          </ac:spMkLst>
        </pc:spChg>
      </pc:sldChg>
      <pc:sldChg chg="addSp modSp mod">
        <pc:chgData name="Rosa, Crystal" userId="fb74c9b1-33bd-4af2-8565-ea2bdc65fe6b" providerId="ADAL" clId="{A3511153-53A3-41F8-82F5-EA40A4524BE7}" dt="2023-07-13T21:35:58.554" v="65" actId="1035"/>
        <pc:sldMkLst>
          <pc:docMk/>
          <pc:sldMk cId="1650613911" sldId="303"/>
        </pc:sldMkLst>
        <pc:graphicFrameChg chg="add mod">
          <ac:chgData name="Rosa, Crystal" userId="fb74c9b1-33bd-4af2-8565-ea2bdc65fe6b" providerId="ADAL" clId="{A3511153-53A3-41F8-82F5-EA40A4524BE7}" dt="2023-07-13T21:35:58.554" v="65" actId="1035"/>
          <ac:graphicFrameMkLst>
            <pc:docMk/>
            <pc:sldMk cId="1650613911" sldId="303"/>
            <ac:graphicFrameMk id="7" creationId="{26FC6E78-7FCB-7493-A3ED-E044411493E6}"/>
          </ac:graphicFrameMkLst>
        </pc:graphicFrameChg>
      </pc:sldChg>
      <pc:sldChg chg="modSp mod">
        <pc:chgData name="Rosa, Crystal" userId="fb74c9b1-33bd-4af2-8565-ea2bdc65fe6b" providerId="ADAL" clId="{A3511153-53A3-41F8-82F5-EA40A4524BE7}" dt="2023-07-13T21:36:12.914" v="68" actId="404"/>
        <pc:sldMkLst>
          <pc:docMk/>
          <pc:sldMk cId="1054884385" sldId="304"/>
        </pc:sldMkLst>
        <pc:spChg chg="mod">
          <ac:chgData name="Rosa, Crystal" userId="fb74c9b1-33bd-4af2-8565-ea2bdc65fe6b" providerId="ADAL" clId="{A3511153-53A3-41F8-82F5-EA40A4524BE7}" dt="2023-07-13T21:36:09.612" v="67" actId="404"/>
          <ac:spMkLst>
            <pc:docMk/>
            <pc:sldMk cId="1054884385" sldId="304"/>
            <ac:spMk id="2" creationId="{71ECDFDF-B56B-4C43-BBBF-D35CEE5E475F}"/>
          </ac:spMkLst>
        </pc:spChg>
        <pc:spChg chg="mod">
          <ac:chgData name="Rosa, Crystal" userId="fb74c9b1-33bd-4af2-8565-ea2bdc65fe6b" providerId="ADAL" clId="{A3511153-53A3-41F8-82F5-EA40A4524BE7}" dt="2023-07-13T21:36:12.914" v="68" actId="404"/>
          <ac:spMkLst>
            <pc:docMk/>
            <pc:sldMk cId="1054884385" sldId="304"/>
            <ac:spMk id="4" creationId="{DC0520D7-75CC-508B-69FB-965CE40BDC11}"/>
          </ac:spMkLst>
        </pc:spChg>
      </pc:sldChg>
      <pc:sldChg chg="modSp mod">
        <pc:chgData name="Rosa, Crystal" userId="fb74c9b1-33bd-4af2-8565-ea2bdc65fe6b" providerId="ADAL" clId="{A3511153-53A3-41F8-82F5-EA40A4524BE7}" dt="2023-07-13T21:36:45.260" v="91" actId="1036"/>
        <pc:sldMkLst>
          <pc:docMk/>
          <pc:sldMk cId="1936964873" sldId="307"/>
        </pc:sldMkLst>
        <pc:spChg chg="mod">
          <ac:chgData name="Rosa, Crystal" userId="fb74c9b1-33bd-4af2-8565-ea2bdc65fe6b" providerId="ADAL" clId="{A3511153-53A3-41F8-82F5-EA40A4524BE7}" dt="2023-07-13T21:36:39.160" v="72" actId="404"/>
          <ac:spMkLst>
            <pc:docMk/>
            <pc:sldMk cId="1936964873" sldId="307"/>
            <ac:spMk id="2" creationId="{71ECDFDF-B56B-4C43-BBBF-D35CEE5E475F}"/>
          </ac:spMkLst>
        </pc:spChg>
        <pc:picChg chg="mod">
          <ac:chgData name="Rosa, Crystal" userId="fb74c9b1-33bd-4af2-8565-ea2bdc65fe6b" providerId="ADAL" clId="{A3511153-53A3-41F8-82F5-EA40A4524BE7}" dt="2023-07-13T21:36:45.260" v="91" actId="1036"/>
          <ac:picMkLst>
            <pc:docMk/>
            <pc:sldMk cId="1936964873" sldId="307"/>
            <ac:picMk id="17" creationId="{3C681B0C-2B64-6E7B-C0E0-5ADEFA510BDC}"/>
          </ac:picMkLst>
        </pc:picChg>
      </pc:sldChg>
      <pc:sldChg chg="modSp mod">
        <pc:chgData name="Rosa, Crystal" userId="fb74c9b1-33bd-4af2-8565-ea2bdc65fe6b" providerId="ADAL" clId="{A3511153-53A3-41F8-82F5-EA40A4524BE7}" dt="2023-07-13T21:36:32.152" v="71" actId="404"/>
        <pc:sldMkLst>
          <pc:docMk/>
          <pc:sldMk cId="2338493111" sldId="308"/>
        </pc:sldMkLst>
        <pc:spChg chg="mod">
          <ac:chgData name="Rosa, Crystal" userId="fb74c9b1-33bd-4af2-8565-ea2bdc65fe6b" providerId="ADAL" clId="{A3511153-53A3-41F8-82F5-EA40A4524BE7}" dt="2023-07-13T21:36:32.152" v="71" actId="404"/>
          <ac:spMkLst>
            <pc:docMk/>
            <pc:sldMk cId="2338493111" sldId="308"/>
            <ac:spMk id="3" creationId="{06AC962A-FABE-4F14-91E7-A91AD417ADFF}"/>
          </ac:spMkLst>
        </pc:spChg>
      </pc:sldChg>
      <pc:sldChg chg="modSp mod">
        <pc:chgData name="Rosa, Crystal" userId="fb74c9b1-33bd-4af2-8565-ea2bdc65fe6b" providerId="ADAL" clId="{A3511153-53A3-41F8-82F5-EA40A4524BE7}" dt="2023-07-13T21:34:38.129" v="18" actId="404"/>
        <pc:sldMkLst>
          <pc:docMk/>
          <pc:sldMk cId="1963271544" sldId="1132"/>
        </pc:sldMkLst>
        <pc:spChg chg="mod">
          <ac:chgData name="Rosa, Crystal" userId="fb74c9b1-33bd-4af2-8565-ea2bdc65fe6b" providerId="ADAL" clId="{A3511153-53A3-41F8-82F5-EA40A4524BE7}" dt="2023-07-13T21:34:33.852" v="17" actId="404"/>
          <ac:spMkLst>
            <pc:docMk/>
            <pc:sldMk cId="1963271544" sldId="1132"/>
            <ac:spMk id="2" creationId="{5B1EE775-0DD9-9523-89D7-58F9EA9BC236}"/>
          </ac:spMkLst>
        </pc:spChg>
        <pc:spChg chg="mod">
          <ac:chgData name="Rosa, Crystal" userId="fb74c9b1-33bd-4af2-8565-ea2bdc65fe6b" providerId="ADAL" clId="{A3511153-53A3-41F8-82F5-EA40A4524BE7}" dt="2023-07-13T21:34:38.129" v="18" actId="404"/>
          <ac:spMkLst>
            <pc:docMk/>
            <pc:sldMk cId="1963271544" sldId="1132"/>
            <ac:spMk id="26" creationId="{07CE0FFF-B88F-4BF6-A69A-2F7EF781B2CD}"/>
          </ac:spMkLst>
        </pc:spChg>
      </pc:sldChg>
      <pc:sldChg chg="modSp mod">
        <pc:chgData name="Rosa, Crystal" userId="fb74c9b1-33bd-4af2-8565-ea2bdc65fe6b" providerId="ADAL" clId="{A3511153-53A3-41F8-82F5-EA40A4524BE7}" dt="2023-07-13T21:35:07.617" v="35" actId="404"/>
        <pc:sldMkLst>
          <pc:docMk/>
          <pc:sldMk cId="3474700355" sldId="1958"/>
        </pc:sldMkLst>
        <pc:spChg chg="mod">
          <ac:chgData name="Rosa, Crystal" userId="fb74c9b1-33bd-4af2-8565-ea2bdc65fe6b" providerId="ADAL" clId="{A3511153-53A3-41F8-82F5-EA40A4524BE7}" dt="2023-07-13T21:34:47.182" v="31" actId="1035"/>
          <ac:spMkLst>
            <pc:docMk/>
            <pc:sldMk cId="3474700355" sldId="1958"/>
            <ac:spMk id="2" creationId="{A2803681-83BA-14F1-D3BA-1D9F3C619B06}"/>
          </ac:spMkLst>
        </pc:spChg>
        <pc:spChg chg="mod">
          <ac:chgData name="Rosa, Crystal" userId="fb74c9b1-33bd-4af2-8565-ea2bdc65fe6b" providerId="ADAL" clId="{A3511153-53A3-41F8-82F5-EA40A4524BE7}" dt="2023-07-13T21:35:07.617" v="35" actId="404"/>
          <ac:spMkLst>
            <pc:docMk/>
            <pc:sldMk cId="3474700355" sldId="1958"/>
            <ac:spMk id="10" creationId="{00000000-0000-0000-0000-000000000000}"/>
          </ac:spMkLst>
        </pc:spChg>
        <pc:spChg chg="mod">
          <ac:chgData name="Rosa, Crystal" userId="fb74c9b1-33bd-4af2-8565-ea2bdc65fe6b" providerId="ADAL" clId="{A3511153-53A3-41F8-82F5-EA40A4524BE7}" dt="2023-07-13T21:34:59.726" v="34" actId="114"/>
          <ac:spMkLst>
            <pc:docMk/>
            <pc:sldMk cId="3474700355" sldId="1958"/>
            <ac:spMk id="14" creationId="{9C52EBCC-05CF-19D1-CA36-2D2D0F98314B}"/>
          </ac:spMkLst>
        </pc:spChg>
        <pc:graphicFrameChg chg="modGraphic">
          <ac:chgData name="Rosa, Crystal" userId="fb74c9b1-33bd-4af2-8565-ea2bdc65fe6b" providerId="ADAL" clId="{A3511153-53A3-41F8-82F5-EA40A4524BE7}" dt="2023-07-13T21:34:55.240" v="33" actId="404"/>
          <ac:graphicFrameMkLst>
            <pc:docMk/>
            <pc:sldMk cId="3474700355" sldId="1958"/>
            <ac:graphicFrameMk id="23" creationId="{6A970923-3EE9-5110-7D67-6F29AF537C54}"/>
          </ac:graphicFrameMkLst>
        </pc:graphicFrameChg>
      </pc:sldChg>
      <pc:sldChg chg="modSp mod">
        <pc:chgData name="Rosa, Crystal" userId="fb74c9b1-33bd-4af2-8565-ea2bdc65fe6b" providerId="ADAL" clId="{A3511153-53A3-41F8-82F5-EA40A4524BE7}" dt="2023-07-13T21:35:22.649" v="37" actId="404"/>
        <pc:sldMkLst>
          <pc:docMk/>
          <pc:sldMk cId="1192723466" sldId="1966"/>
        </pc:sldMkLst>
        <pc:spChg chg="mod">
          <ac:chgData name="Rosa, Crystal" userId="fb74c9b1-33bd-4af2-8565-ea2bdc65fe6b" providerId="ADAL" clId="{A3511153-53A3-41F8-82F5-EA40A4524BE7}" dt="2023-07-13T21:35:22.649" v="37" actId="404"/>
          <ac:spMkLst>
            <pc:docMk/>
            <pc:sldMk cId="1192723466" sldId="1966"/>
            <ac:spMk id="3" creationId="{06AC962A-FABE-4F14-91E7-A91AD417ADFF}"/>
          </ac:spMkLst>
        </pc:spChg>
      </pc:sldChg>
      <pc:sldChg chg="modSp mod">
        <pc:chgData name="Rosa, Crystal" userId="fb74c9b1-33bd-4af2-8565-ea2bdc65fe6b" providerId="ADAL" clId="{A3511153-53A3-41F8-82F5-EA40A4524BE7}" dt="2023-07-13T21:38:41.266" v="94" actId="1076"/>
        <pc:sldMkLst>
          <pc:docMk/>
          <pc:sldMk cId="3267574285" sldId="1967"/>
        </pc:sldMkLst>
        <pc:spChg chg="mod">
          <ac:chgData name="Rosa, Crystal" userId="fb74c9b1-33bd-4af2-8565-ea2bdc65fe6b" providerId="ADAL" clId="{A3511153-53A3-41F8-82F5-EA40A4524BE7}" dt="2023-07-13T21:38:41.266" v="94" actId="1076"/>
          <ac:spMkLst>
            <pc:docMk/>
            <pc:sldMk cId="3267574285" sldId="1967"/>
            <ac:spMk id="3" creationId="{06AC962A-FABE-4F14-91E7-A91AD417ADFF}"/>
          </ac:spMkLst>
        </pc:spChg>
      </pc:sldChg>
      <pc:sldChg chg="modSp mod">
        <pc:chgData name="Rosa, Crystal" userId="fb74c9b1-33bd-4af2-8565-ea2bdc65fe6b" providerId="ADAL" clId="{A3511153-53A3-41F8-82F5-EA40A4524BE7}" dt="2023-07-13T21:39:08.911" v="101" actId="404"/>
        <pc:sldMkLst>
          <pc:docMk/>
          <pc:sldMk cId="2854237404" sldId="1968"/>
        </pc:sldMkLst>
        <pc:spChg chg="mod">
          <ac:chgData name="Rosa, Crystal" userId="fb74c9b1-33bd-4af2-8565-ea2bdc65fe6b" providerId="ADAL" clId="{A3511153-53A3-41F8-82F5-EA40A4524BE7}" dt="2023-07-13T21:39:08.911" v="101" actId="404"/>
          <ac:spMkLst>
            <pc:docMk/>
            <pc:sldMk cId="2854237404" sldId="1968"/>
            <ac:spMk id="3" creationId="{06AC962A-FABE-4F14-91E7-A91AD417ADFF}"/>
          </ac:spMkLst>
        </pc:spChg>
      </pc:sldChg>
      <pc:sldChg chg="modSp mod">
        <pc:chgData name="Rosa, Crystal" userId="fb74c9b1-33bd-4af2-8565-ea2bdc65fe6b" providerId="ADAL" clId="{A3511153-53A3-41F8-82F5-EA40A4524BE7}" dt="2023-07-13T21:35:38.865" v="43" actId="14100"/>
        <pc:sldMkLst>
          <pc:docMk/>
          <pc:sldMk cId="1389041451" sldId="1969"/>
        </pc:sldMkLst>
        <pc:spChg chg="mod">
          <ac:chgData name="Rosa, Crystal" userId="fb74c9b1-33bd-4af2-8565-ea2bdc65fe6b" providerId="ADAL" clId="{A3511153-53A3-41F8-82F5-EA40A4524BE7}" dt="2023-07-13T21:35:30.150" v="39" actId="404"/>
          <ac:spMkLst>
            <pc:docMk/>
            <pc:sldMk cId="1389041451" sldId="1969"/>
            <ac:spMk id="2" creationId="{71ECDFDF-B56B-4C43-BBBF-D35CEE5E475F}"/>
          </ac:spMkLst>
        </pc:spChg>
        <pc:spChg chg="mod">
          <ac:chgData name="Rosa, Crystal" userId="fb74c9b1-33bd-4af2-8565-ea2bdc65fe6b" providerId="ADAL" clId="{A3511153-53A3-41F8-82F5-EA40A4524BE7}" dt="2023-07-13T21:35:38.865" v="43" actId="14100"/>
          <ac:spMkLst>
            <pc:docMk/>
            <pc:sldMk cId="1389041451" sldId="1969"/>
            <ac:spMk id="11" creationId="{80375151-8B20-3D8C-FEBF-EF4330089FFA}"/>
          </ac:spMkLst>
        </pc:spChg>
      </pc:sldChg>
      <pc:sldChg chg="modSp mod">
        <pc:chgData name="Rosa, Crystal" userId="fb74c9b1-33bd-4af2-8565-ea2bdc65fe6b" providerId="ADAL" clId="{A3511153-53A3-41F8-82F5-EA40A4524BE7}" dt="2023-07-13T21:39:40.491" v="107" actId="404"/>
        <pc:sldMkLst>
          <pc:docMk/>
          <pc:sldMk cId="243584219" sldId="1970"/>
        </pc:sldMkLst>
        <pc:spChg chg="mod">
          <ac:chgData name="Rosa, Crystal" userId="fb74c9b1-33bd-4af2-8565-ea2bdc65fe6b" providerId="ADAL" clId="{A3511153-53A3-41F8-82F5-EA40A4524BE7}" dt="2023-07-13T21:39:40.491" v="107" actId="404"/>
          <ac:spMkLst>
            <pc:docMk/>
            <pc:sldMk cId="243584219" sldId="1970"/>
            <ac:spMk id="3" creationId="{06AC962A-FABE-4F14-91E7-A91AD417ADFF}"/>
          </ac:spMkLst>
        </pc:spChg>
      </pc:sldChg>
      <pc:sldChg chg="modSp mod">
        <pc:chgData name="Rosa, Crystal" userId="fb74c9b1-33bd-4af2-8565-ea2bdc65fe6b" providerId="ADAL" clId="{A3511153-53A3-41F8-82F5-EA40A4524BE7}" dt="2023-07-13T21:40:39.251" v="124" actId="20577"/>
        <pc:sldMkLst>
          <pc:docMk/>
          <pc:sldMk cId="472625034" sldId="1971"/>
        </pc:sldMkLst>
        <pc:spChg chg="mod">
          <ac:chgData name="Rosa, Crystal" userId="fb74c9b1-33bd-4af2-8565-ea2bdc65fe6b" providerId="ADAL" clId="{A3511153-53A3-41F8-82F5-EA40A4524BE7}" dt="2023-07-13T21:40:39.251" v="124" actId="20577"/>
          <ac:spMkLst>
            <pc:docMk/>
            <pc:sldMk cId="472625034" sldId="1971"/>
            <ac:spMk id="3" creationId="{06AC962A-FABE-4F14-91E7-A91AD417ADFF}"/>
          </ac:spMkLst>
        </pc:spChg>
      </pc:sldChg>
      <pc:sldChg chg="modSp mod">
        <pc:chgData name="Rosa, Crystal" userId="fb74c9b1-33bd-4af2-8565-ea2bdc65fe6b" providerId="ADAL" clId="{A3511153-53A3-41F8-82F5-EA40A4524BE7}" dt="2023-07-13T21:40:53.845" v="127" actId="404"/>
        <pc:sldMkLst>
          <pc:docMk/>
          <pc:sldMk cId="175234593" sldId="1972"/>
        </pc:sldMkLst>
        <pc:spChg chg="mod">
          <ac:chgData name="Rosa, Crystal" userId="fb74c9b1-33bd-4af2-8565-ea2bdc65fe6b" providerId="ADAL" clId="{A3511153-53A3-41F8-82F5-EA40A4524BE7}" dt="2023-07-13T21:40:47.763" v="125" actId="404"/>
          <ac:spMkLst>
            <pc:docMk/>
            <pc:sldMk cId="175234593" sldId="1972"/>
            <ac:spMk id="10" creationId="{D141A10D-5B03-7E89-B4DE-3B8BE28B7D19}"/>
          </ac:spMkLst>
        </pc:spChg>
        <pc:graphicFrameChg chg="modGraphic">
          <ac:chgData name="Rosa, Crystal" userId="fb74c9b1-33bd-4af2-8565-ea2bdc65fe6b" providerId="ADAL" clId="{A3511153-53A3-41F8-82F5-EA40A4524BE7}" dt="2023-07-13T21:40:53.845" v="127" actId="404"/>
          <ac:graphicFrameMkLst>
            <pc:docMk/>
            <pc:sldMk cId="175234593" sldId="1972"/>
            <ac:graphicFrameMk id="3" creationId="{B21E3827-1DB0-0D3E-8DCC-20E920E4B217}"/>
          </ac:graphicFrameMkLst>
        </pc:graphicFrameChg>
      </pc:sldChg>
      <pc:sldChg chg="modSp mod">
        <pc:chgData name="Rosa, Crystal" userId="fb74c9b1-33bd-4af2-8565-ea2bdc65fe6b" providerId="ADAL" clId="{A3511153-53A3-41F8-82F5-EA40A4524BE7}" dt="2023-07-13T21:36:24.175" v="70" actId="404"/>
        <pc:sldMkLst>
          <pc:docMk/>
          <pc:sldMk cId="2953531974" sldId="1973"/>
        </pc:sldMkLst>
        <pc:spChg chg="mod">
          <ac:chgData name="Rosa, Crystal" userId="fb74c9b1-33bd-4af2-8565-ea2bdc65fe6b" providerId="ADAL" clId="{A3511153-53A3-41F8-82F5-EA40A4524BE7}" dt="2023-07-13T21:36:24.175" v="70" actId="404"/>
          <ac:spMkLst>
            <pc:docMk/>
            <pc:sldMk cId="2953531974" sldId="1973"/>
            <ac:spMk id="4" creationId="{B30C229C-2B06-2587-56A4-5343598C7417}"/>
          </ac:spMkLst>
        </pc:spChg>
      </pc:sldChg>
      <pc:sldChg chg="modSp mod">
        <pc:chgData name="Rosa, Crystal" userId="fb74c9b1-33bd-4af2-8565-ea2bdc65fe6b" providerId="ADAL" clId="{A3511153-53A3-41F8-82F5-EA40A4524BE7}" dt="2023-07-13T21:36:54.229" v="92" actId="404"/>
        <pc:sldMkLst>
          <pc:docMk/>
          <pc:sldMk cId="1745514758" sldId="1974"/>
        </pc:sldMkLst>
        <pc:spChg chg="mod">
          <ac:chgData name="Rosa, Crystal" userId="fb74c9b1-33bd-4af2-8565-ea2bdc65fe6b" providerId="ADAL" clId="{A3511153-53A3-41F8-82F5-EA40A4524BE7}" dt="2023-07-13T21:36:54.229" v="92" actId="404"/>
          <ac:spMkLst>
            <pc:docMk/>
            <pc:sldMk cId="1745514758" sldId="1974"/>
            <ac:spMk id="3" creationId="{06AC962A-FABE-4F14-91E7-A91AD417ADFF}"/>
          </ac:spMkLst>
        </pc:spChg>
      </pc:sldChg>
      <pc:sldChg chg="modSp mod">
        <pc:chgData name="Rosa, Crystal" userId="fb74c9b1-33bd-4af2-8565-ea2bdc65fe6b" providerId="ADAL" clId="{A3511153-53A3-41F8-82F5-EA40A4524BE7}" dt="2023-07-13T21:39:30.725" v="106" actId="404"/>
        <pc:sldMkLst>
          <pc:docMk/>
          <pc:sldMk cId="2184168918" sldId="1975"/>
        </pc:sldMkLst>
        <pc:spChg chg="mod">
          <ac:chgData name="Rosa, Crystal" userId="fb74c9b1-33bd-4af2-8565-ea2bdc65fe6b" providerId="ADAL" clId="{A3511153-53A3-41F8-82F5-EA40A4524BE7}" dt="2023-07-13T21:39:30.725" v="106" actId="404"/>
          <ac:spMkLst>
            <pc:docMk/>
            <pc:sldMk cId="2184168918" sldId="1975"/>
            <ac:spMk id="3" creationId="{06AC962A-FABE-4F14-91E7-A91AD417ADFF}"/>
          </ac:spMkLst>
        </pc:spChg>
      </pc:sldChg>
      <pc:sldChg chg="modSp mod">
        <pc:chgData name="Rosa, Crystal" userId="fb74c9b1-33bd-4af2-8565-ea2bdc65fe6b" providerId="ADAL" clId="{A3511153-53A3-41F8-82F5-EA40A4524BE7}" dt="2023-07-13T21:40:31.911" v="123" actId="1036"/>
        <pc:sldMkLst>
          <pc:docMk/>
          <pc:sldMk cId="1562900042" sldId="1976"/>
        </pc:sldMkLst>
        <pc:spChg chg="mod">
          <ac:chgData name="Rosa, Crystal" userId="fb74c9b1-33bd-4af2-8565-ea2bdc65fe6b" providerId="ADAL" clId="{A3511153-53A3-41F8-82F5-EA40A4524BE7}" dt="2023-07-13T21:40:31.911" v="123" actId="1036"/>
          <ac:spMkLst>
            <pc:docMk/>
            <pc:sldMk cId="1562900042" sldId="1976"/>
            <ac:spMk id="2" creationId="{71ECDFDF-B56B-4C43-BBBF-D35CEE5E475F}"/>
          </ac:spMkLst>
        </pc:spChg>
        <pc:spChg chg="mod">
          <ac:chgData name="Rosa, Crystal" userId="fb74c9b1-33bd-4af2-8565-ea2bdc65fe6b" providerId="ADAL" clId="{A3511153-53A3-41F8-82F5-EA40A4524BE7}" dt="2023-07-13T21:40:28.776" v="115" actId="14100"/>
          <ac:spMkLst>
            <pc:docMk/>
            <pc:sldMk cId="1562900042" sldId="1976"/>
            <ac:spMk id="3" creationId="{06AC962A-FABE-4F14-91E7-A91AD417ADFF}"/>
          </ac:spMkLst>
        </pc:spChg>
      </pc:sldChg>
    </pc:docChg>
  </pc:docChgLst>
  <pc:docChgLst>
    <pc:chgData name="Nadkarni, Nikhil" userId="8cb4e2ce-db3a-48d0-bf6f-d5eb8967a6f9" providerId="ADAL" clId="{3D8AE9CF-11A6-4709-B7E1-28958F68C423}"/>
    <pc:docChg chg="undo redo custSel addSld delSld modSld sldOrd">
      <pc:chgData name="Nadkarni, Nikhil" userId="8cb4e2ce-db3a-48d0-bf6f-d5eb8967a6f9" providerId="ADAL" clId="{3D8AE9CF-11A6-4709-B7E1-28958F68C423}" dt="2023-07-10T20:30:52.204" v="7951" actId="20577"/>
      <pc:docMkLst>
        <pc:docMk/>
      </pc:docMkLst>
      <pc:sldChg chg="delSp modSp mod">
        <pc:chgData name="Nadkarni, Nikhil" userId="8cb4e2ce-db3a-48d0-bf6f-d5eb8967a6f9" providerId="ADAL" clId="{3D8AE9CF-11A6-4709-B7E1-28958F68C423}" dt="2023-07-10T20:21:05.088" v="6665" actId="962"/>
        <pc:sldMkLst>
          <pc:docMk/>
          <pc:sldMk cId="1323482831" sldId="264"/>
        </pc:sldMkLst>
        <pc:spChg chg="mod">
          <ac:chgData name="Nadkarni, Nikhil" userId="8cb4e2ce-db3a-48d0-bf6f-d5eb8967a6f9" providerId="ADAL" clId="{3D8AE9CF-11A6-4709-B7E1-28958F68C423}" dt="2023-07-07T16:53:38.700" v="3" actId="20577"/>
          <ac:spMkLst>
            <pc:docMk/>
            <pc:sldMk cId="1323482831" sldId="264"/>
            <ac:spMk id="2" creationId="{75B90E77-7E96-13CD-A0C5-93F1CBBC75ED}"/>
          </ac:spMkLst>
        </pc:spChg>
        <pc:spChg chg="mod">
          <ac:chgData name="Nadkarni, Nikhil" userId="8cb4e2ce-db3a-48d0-bf6f-d5eb8967a6f9" providerId="ADAL" clId="{3D8AE9CF-11A6-4709-B7E1-28958F68C423}" dt="2023-07-10T20:21:05.088" v="6665" actId="962"/>
          <ac:spMkLst>
            <pc:docMk/>
            <pc:sldMk cId="1323482831" sldId="264"/>
            <ac:spMk id="3" creationId="{01F86F2B-DD5A-C2FE-BD8E-43810D315F14}"/>
          </ac:spMkLst>
        </pc:spChg>
        <pc:spChg chg="del">
          <ac:chgData name="Nadkarni, Nikhil" userId="8cb4e2ce-db3a-48d0-bf6f-d5eb8967a6f9" providerId="ADAL" clId="{3D8AE9CF-11A6-4709-B7E1-28958F68C423}" dt="2023-07-10T20:20:42.202" v="6617" actId="478"/>
          <ac:spMkLst>
            <pc:docMk/>
            <pc:sldMk cId="1323482831" sldId="264"/>
            <ac:spMk id="9" creationId="{00000000-0000-0000-0000-000000000000}"/>
          </ac:spMkLst>
        </pc:spChg>
        <pc:spChg chg="mod">
          <ac:chgData name="Nadkarni, Nikhil" userId="8cb4e2ce-db3a-48d0-bf6f-d5eb8967a6f9" providerId="ADAL" clId="{3D8AE9CF-11A6-4709-B7E1-28958F68C423}" dt="2023-07-10T20:19:09.259" v="6535" actId="33553"/>
          <ac:spMkLst>
            <pc:docMk/>
            <pc:sldMk cId="1323482831" sldId="264"/>
            <ac:spMk id="15" creationId="{C326D269-7F41-4E44-8A13-AE1B695E8677}"/>
          </ac:spMkLst>
        </pc:spChg>
        <pc:spChg chg="mod">
          <ac:chgData name="Nadkarni, Nikhil" userId="8cb4e2ce-db3a-48d0-bf6f-d5eb8967a6f9" providerId="ADAL" clId="{3D8AE9CF-11A6-4709-B7E1-28958F68C423}" dt="2023-07-10T20:21:02.321" v="6664" actId="962"/>
          <ac:spMkLst>
            <pc:docMk/>
            <pc:sldMk cId="1323482831" sldId="264"/>
            <ac:spMk id="22" creationId="{D9793570-47BE-49A6-A6D0-DC7D984EFEBE}"/>
          </ac:spMkLst>
        </pc:spChg>
        <pc:picChg chg="mod">
          <ac:chgData name="Nadkarni, Nikhil" userId="8cb4e2ce-db3a-48d0-bf6f-d5eb8967a6f9" providerId="ADAL" clId="{3D8AE9CF-11A6-4709-B7E1-28958F68C423}" dt="2023-07-10T20:20:49.853" v="6645" actId="962"/>
          <ac:picMkLst>
            <pc:docMk/>
            <pc:sldMk cId="1323482831" sldId="264"/>
            <ac:picMk id="4" creationId="{6D811143-9518-4082-8E3D-458C3A920201}"/>
          </ac:picMkLst>
        </pc:picChg>
        <pc:picChg chg="mod">
          <ac:chgData name="Nadkarni, Nikhil" userId="8cb4e2ce-db3a-48d0-bf6f-d5eb8967a6f9" providerId="ADAL" clId="{3D8AE9CF-11A6-4709-B7E1-28958F68C423}" dt="2023-07-10T20:20:54.720" v="6663" actId="962"/>
          <ac:picMkLst>
            <pc:docMk/>
            <pc:sldMk cId="1323482831" sldId="264"/>
            <ac:picMk id="6" creationId="{26674E0B-912D-4C98-8001-D49400E18B3C}"/>
          </ac:picMkLst>
        </pc:picChg>
        <pc:picChg chg="mod">
          <ac:chgData name="Nadkarni, Nikhil" userId="8cb4e2ce-db3a-48d0-bf6f-d5eb8967a6f9" providerId="ADAL" clId="{3D8AE9CF-11A6-4709-B7E1-28958F68C423}" dt="2023-07-10T20:20:35.040" v="6616" actId="962"/>
          <ac:picMkLst>
            <pc:docMk/>
            <pc:sldMk cId="1323482831" sldId="264"/>
            <ac:picMk id="21" creationId="{210CE73C-95C7-4522-A7BB-41FC50781EFE}"/>
          </ac:picMkLst>
        </pc:picChg>
      </pc:sldChg>
      <pc:sldChg chg="modSp mod">
        <pc:chgData name="Nadkarni, Nikhil" userId="8cb4e2ce-db3a-48d0-bf6f-d5eb8967a6f9" providerId="ADAL" clId="{3D8AE9CF-11A6-4709-B7E1-28958F68C423}" dt="2023-07-10T20:22:10.450" v="6747" actId="962"/>
        <pc:sldMkLst>
          <pc:docMk/>
          <pc:sldMk cId="443159585" sldId="295"/>
        </pc:sldMkLst>
        <pc:spChg chg="mod">
          <ac:chgData name="Nadkarni, Nikhil" userId="8cb4e2ce-db3a-48d0-bf6f-d5eb8967a6f9" providerId="ADAL" clId="{3D8AE9CF-11A6-4709-B7E1-28958F68C423}" dt="2023-07-10T17:16:32.050" v="2552" actId="1076"/>
          <ac:spMkLst>
            <pc:docMk/>
            <pc:sldMk cId="443159585" sldId="295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19:22:25.414" v="4056" actId="20577"/>
          <ac:spMkLst>
            <pc:docMk/>
            <pc:sldMk cId="443159585" sldId="295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10.450" v="6747" actId="962"/>
          <ac:spMkLst>
            <pc:docMk/>
            <pc:sldMk cId="443159585" sldId="295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9:26:52.150" v="4143" actId="20577"/>
          <ac:spMkLst>
            <pc:docMk/>
            <pc:sldMk cId="443159585" sldId="295"/>
            <ac:spMk id="9" creationId="{BADF41E3-B302-4C05-B004-242B35D59BFB}"/>
          </ac:spMkLst>
        </pc:spChg>
      </pc:sldChg>
      <pc:sldChg chg="modSp mod delCm modCm">
        <pc:chgData name="Nadkarni, Nikhil" userId="8cb4e2ce-db3a-48d0-bf6f-d5eb8967a6f9" providerId="ADAL" clId="{3D8AE9CF-11A6-4709-B7E1-28958F68C423}" dt="2023-07-10T20:25:25.622" v="7863" actId="962"/>
        <pc:sldMkLst>
          <pc:docMk/>
          <pc:sldMk cId="2346477064" sldId="296"/>
        </pc:sldMkLst>
        <pc:spChg chg="mod">
          <ac:chgData name="Nadkarni, Nikhil" userId="8cb4e2ce-db3a-48d0-bf6f-d5eb8967a6f9" providerId="ADAL" clId="{3D8AE9CF-11A6-4709-B7E1-28958F68C423}" dt="2023-07-10T19:22:59.916" v="4106" actId="1076"/>
          <ac:spMkLst>
            <pc:docMk/>
            <pc:sldMk cId="2346477064" sldId="296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16:13.534" v="6520" actId="20577"/>
          <ac:spMkLst>
            <pc:docMk/>
            <pc:sldMk cId="2346477064" sldId="296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09.087" v="6746" actId="962"/>
          <ac:spMkLst>
            <pc:docMk/>
            <pc:sldMk cId="2346477064" sldId="296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20:25:16.795" v="7857" actId="962"/>
          <ac:spMkLst>
            <pc:docMk/>
            <pc:sldMk cId="2346477064" sldId="296"/>
            <ac:spMk id="7" creationId="{97C953B7-6F41-0F4A-2431-0C481CDC431B}"/>
          </ac:spMkLst>
        </pc:spChg>
        <pc:spChg chg="mod">
          <ac:chgData name="Nadkarni, Nikhil" userId="8cb4e2ce-db3a-48d0-bf6f-d5eb8967a6f9" providerId="ADAL" clId="{3D8AE9CF-11A6-4709-B7E1-28958F68C423}" dt="2023-07-10T19:27:01.205" v="4147" actId="20577"/>
          <ac:spMkLst>
            <pc:docMk/>
            <pc:sldMk cId="2346477064" sldId="296"/>
            <ac:spMk id="9" creationId="{BADF41E3-B302-4C05-B004-242B35D59BFB}"/>
          </ac:spMkLst>
        </pc:spChg>
        <pc:spChg chg="mod">
          <ac:chgData name="Nadkarni, Nikhil" userId="8cb4e2ce-db3a-48d0-bf6f-d5eb8967a6f9" providerId="ADAL" clId="{3D8AE9CF-11A6-4709-B7E1-28958F68C423}" dt="2023-07-10T20:25:18.184" v="7858" actId="962"/>
          <ac:spMkLst>
            <pc:docMk/>
            <pc:sldMk cId="2346477064" sldId="296"/>
            <ac:spMk id="11" creationId="{E3FBDFC8-7ED1-B7D1-0592-54303AA322D9}"/>
          </ac:spMkLst>
        </pc:spChg>
        <pc:spChg chg="mod">
          <ac:chgData name="Nadkarni, Nikhil" userId="8cb4e2ce-db3a-48d0-bf6f-d5eb8967a6f9" providerId="ADAL" clId="{3D8AE9CF-11A6-4709-B7E1-28958F68C423}" dt="2023-07-10T20:25:19.471" v="7859" actId="962"/>
          <ac:spMkLst>
            <pc:docMk/>
            <pc:sldMk cId="2346477064" sldId="296"/>
            <ac:spMk id="12" creationId="{9DA9AB8A-E633-E98B-87E1-EB2E0ECE41CB}"/>
          </ac:spMkLst>
        </pc:spChg>
        <pc:spChg chg="mod">
          <ac:chgData name="Nadkarni, Nikhil" userId="8cb4e2ce-db3a-48d0-bf6f-d5eb8967a6f9" providerId="ADAL" clId="{3D8AE9CF-11A6-4709-B7E1-28958F68C423}" dt="2023-07-10T20:25:21.053" v="7860" actId="962"/>
          <ac:spMkLst>
            <pc:docMk/>
            <pc:sldMk cId="2346477064" sldId="296"/>
            <ac:spMk id="13" creationId="{F5C348E1-88C4-DCA4-8D84-07546A3F3CD6}"/>
          </ac:spMkLst>
        </pc:spChg>
        <pc:spChg chg="mod">
          <ac:chgData name="Nadkarni, Nikhil" userId="8cb4e2ce-db3a-48d0-bf6f-d5eb8967a6f9" providerId="ADAL" clId="{3D8AE9CF-11A6-4709-B7E1-28958F68C423}" dt="2023-07-10T20:25:22.792" v="7861" actId="962"/>
          <ac:spMkLst>
            <pc:docMk/>
            <pc:sldMk cId="2346477064" sldId="296"/>
            <ac:spMk id="14" creationId="{9B5F73FF-84A3-76CA-A691-0B774DE4B159}"/>
          </ac:spMkLst>
        </pc:spChg>
        <pc:spChg chg="mod">
          <ac:chgData name="Nadkarni, Nikhil" userId="8cb4e2ce-db3a-48d0-bf6f-d5eb8967a6f9" providerId="ADAL" clId="{3D8AE9CF-11A6-4709-B7E1-28958F68C423}" dt="2023-07-10T20:25:24.114" v="7862" actId="962"/>
          <ac:spMkLst>
            <pc:docMk/>
            <pc:sldMk cId="2346477064" sldId="296"/>
            <ac:spMk id="15" creationId="{6689F8E4-5C11-B8B5-AB53-B485093BFBC1}"/>
          </ac:spMkLst>
        </pc:spChg>
        <pc:spChg chg="mod">
          <ac:chgData name="Nadkarni, Nikhil" userId="8cb4e2ce-db3a-48d0-bf6f-d5eb8967a6f9" providerId="ADAL" clId="{3D8AE9CF-11A6-4709-B7E1-28958F68C423}" dt="2023-07-10T20:25:25.622" v="7863" actId="962"/>
          <ac:spMkLst>
            <pc:docMk/>
            <pc:sldMk cId="2346477064" sldId="296"/>
            <ac:spMk id="16" creationId="{8B3741B8-9816-4D55-42CA-6EFF6F5242E4}"/>
          </ac:spMkLst>
        </pc:spChg>
        <pc:spChg chg="mod">
          <ac:chgData name="Nadkarni, Nikhil" userId="8cb4e2ce-db3a-48d0-bf6f-d5eb8967a6f9" providerId="ADAL" clId="{3D8AE9CF-11A6-4709-B7E1-28958F68C423}" dt="2023-07-10T16:41:49.042" v="967" actId="13926"/>
          <ac:spMkLst>
            <pc:docMk/>
            <pc:sldMk cId="2346477064" sldId="296"/>
            <ac:spMk id="18" creationId="{131F2AF7-DFEE-A6A3-7AB5-0606F78CD218}"/>
          </ac:spMkLst>
        </pc:spChg>
        <pc:picChg chg="mod">
          <ac:chgData name="Nadkarni, Nikhil" userId="8cb4e2ce-db3a-48d0-bf6f-d5eb8967a6f9" providerId="ADAL" clId="{3D8AE9CF-11A6-4709-B7E1-28958F68C423}" dt="2023-07-10T20:25:11.678" v="7856" actId="962"/>
          <ac:picMkLst>
            <pc:docMk/>
            <pc:sldMk cId="2346477064" sldId="296"/>
            <ac:picMk id="4" creationId="{99A41550-23C3-5D52-D831-E73DEE9926C0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Nadkarni, Nikhil" userId="8cb4e2ce-db3a-48d0-bf6f-d5eb8967a6f9" providerId="ADAL" clId="{3D8AE9CF-11A6-4709-B7E1-28958F68C423}" dt="2023-07-10T19:22:54.388" v="4105"/>
              <pc2:cmMkLst xmlns:pc2="http://schemas.microsoft.com/office/powerpoint/2019/9/main/command">
                <pc:docMk/>
                <pc:sldMk cId="2346477064" sldId="296"/>
                <pc2:cmMk id="{05EFD7A6-C967-4A80-B709-16A98EBF4F0F}"/>
              </pc2:cmMkLst>
            </pc226:cmChg>
          </p:ext>
        </pc:extLst>
      </pc:sldChg>
      <pc:sldChg chg="addSp modSp mod">
        <pc:chgData name="Nadkarni, Nikhil" userId="8cb4e2ce-db3a-48d0-bf6f-d5eb8967a6f9" providerId="ADAL" clId="{3D8AE9CF-11A6-4709-B7E1-28958F68C423}" dt="2023-07-10T20:21:54.322" v="6738" actId="962"/>
        <pc:sldMkLst>
          <pc:docMk/>
          <pc:sldMk cId="3259736002" sldId="297"/>
        </pc:sldMkLst>
        <pc:spChg chg="mod">
          <ac:chgData name="Nadkarni, Nikhil" userId="8cb4e2ce-db3a-48d0-bf6f-d5eb8967a6f9" providerId="ADAL" clId="{3D8AE9CF-11A6-4709-B7E1-28958F68C423}" dt="2023-07-10T19:39:52.421" v="4761" actId="20577"/>
          <ac:spMkLst>
            <pc:docMk/>
            <pc:sldMk cId="3259736002" sldId="297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18:12.158" v="6534" actId="20577"/>
          <ac:spMkLst>
            <pc:docMk/>
            <pc:sldMk cId="3259736002" sldId="297"/>
            <ac:spMk id="3" creationId="{06AC962A-FABE-4F14-91E7-A91AD417ADFF}"/>
          </ac:spMkLst>
        </pc:spChg>
        <pc:spChg chg="add mod">
          <ac:chgData name="Nadkarni, Nikhil" userId="8cb4e2ce-db3a-48d0-bf6f-d5eb8967a6f9" providerId="ADAL" clId="{3D8AE9CF-11A6-4709-B7E1-28958F68C423}" dt="2023-07-10T19:56:01.632" v="5526" actId="20578"/>
          <ac:spMkLst>
            <pc:docMk/>
            <pc:sldMk cId="3259736002" sldId="297"/>
            <ac:spMk id="4" creationId="{96B35D68-DDEC-DA4B-6BA6-36BEC583C076}"/>
          </ac:spMkLst>
        </pc:spChg>
        <pc:spChg chg="mod">
          <ac:chgData name="Nadkarni, Nikhil" userId="8cb4e2ce-db3a-48d0-bf6f-d5eb8967a6f9" providerId="ADAL" clId="{3D8AE9CF-11A6-4709-B7E1-28958F68C423}" dt="2023-07-10T20:21:54.322" v="6738" actId="962"/>
          <ac:spMkLst>
            <pc:docMk/>
            <pc:sldMk cId="3259736002" sldId="297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9:32:48.886" v="4382" actId="20577"/>
          <ac:spMkLst>
            <pc:docMk/>
            <pc:sldMk cId="3259736002" sldId="297"/>
            <ac:spMk id="9" creationId="{BADF41E3-B302-4C05-B004-242B35D59BFB}"/>
          </ac:spMkLst>
        </pc:spChg>
      </pc:sldChg>
      <pc:sldChg chg="modSp mod">
        <pc:chgData name="Nadkarni, Nikhil" userId="8cb4e2ce-db3a-48d0-bf6f-d5eb8967a6f9" providerId="ADAL" clId="{3D8AE9CF-11A6-4709-B7E1-28958F68C423}" dt="2023-07-10T20:22:00.466" v="6742" actId="962"/>
        <pc:sldMkLst>
          <pc:docMk/>
          <pc:sldMk cId="3755849851" sldId="298"/>
        </pc:sldMkLst>
        <pc:spChg chg="mod">
          <ac:chgData name="Nadkarni, Nikhil" userId="8cb4e2ce-db3a-48d0-bf6f-d5eb8967a6f9" providerId="ADAL" clId="{3D8AE9CF-11A6-4709-B7E1-28958F68C423}" dt="2023-07-10T19:59:35.892" v="5638" actId="5793"/>
          <ac:spMkLst>
            <pc:docMk/>
            <pc:sldMk cId="3755849851" sldId="298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00.466" v="6742" actId="962"/>
          <ac:spMkLst>
            <pc:docMk/>
            <pc:sldMk cId="3755849851" sldId="298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9:59:39.326" v="5642" actId="20577"/>
          <ac:spMkLst>
            <pc:docMk/>
            <pc:sldMk cId="3755849851" sldId="298"/>
            <ac:spMk id="9" creationId="{BADF41E3-B302-4C05-B004-242B35D59BFB}"/>
          </ac:spMkLst>
        </pc:spChg>
      </pc:sldChg>
      <pc:sldChg chg="modSp mod addCm delCm">
        <pc:chgData name="Nadkarni, Nikhil" userId="8cb4e2ce-db3a-48d0-bf6f-d5eb8967a6f9" providerId="ADAL" clId="{3D8AE9CF-11A6-4709-B7E1-28958F68C423}" dt="2023-07-10T20:25:29.665" v="7865" actId="962"/>
        <pc:sldMkLst>
          <pc:docMk/>
          <pc:sldMk cId="343359655" sldId="300"/>
        </pc:sldMkLst>
        <pc:spChg chg="mod">
          <ac:chgData name="Nadkarni, Nikhil" userId="8cb4e2ce-db3a-48d0-bf6f-d5eb8967a6f9" providerId="ADAL" clId="{3D8AE9CF-11A6-4709-B7E1-28958F68C423}" dt="2023-07-10T19:59:02.493" v="5635" actId="1076"/>
          <ac:spMkLst>
            <pc:docMk/>
            <pc:sldMk cId="343359655" sldId="300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00:54.702" v="5765" actId="20577"/>
          <ac:spMkLst>
            <pc:docMk/>
            <pc:sldMk cId="343359655" sldId="300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5:29.665" v="7865" actId="962"/>
          <ac:spMkLst>
            <pc:docMk/>
            <pc:sldMk cId="343359655" sldId="300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20:08:20.257" v="6499" actId="20577"/>
          <ac:spMkLst>
            <pc:docMk/>
            <pc:sldMk cId="343359655" sldId="300"/>
            <ac:spMk id="9" creationId="{BADF41E3-B302-4C05-B004-242B35D59BF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del">
              <pc226:chgData name="Nadkarni, Nikhil" userId="8cb4e2ce-db3a-48d0-bf6f-d5eb8967a6f9" providerId="ADAL" clId="{3D8AE9CF-11A6-4709-B7E1-28958F68C423}" dt="2023-07-10T16:44:53.966" v="982"/>
              <pc2:cmMkLst xmlns:pc2="http://schemas.microsoft.com/office/powerpoint/2019/9/main/command">
                <pc:docMk/>
                <pc:sldMk cId="343359655" sldId="300"/>
                <pc2:cmMk id="{41A9177B-FBF7-40B5-8F82-BABFC7505810}"/>
              </pc2:cmMkLst>
            </pc226:cmChg>
          </p:ext>
        </pc:extLst>
      </pc:sldChg>
      <pc:sldChg chg="addSp delSp modSp mod ord modCm">
        <pc:chgData name="Nadkarni, Nikhil" userId="8cb4e2ce-db3a-48d0-bf6f-d5eb8967a6f9" providerId="ADAL" clId="{3D8AE9CF-11A6-4709-B7E1-28958F68C423}" dt="2023-07-10T20:30:52.204" v="7951" actId="20577"/>
        <pc:sldMkLst>
          <pc:docMk/>
          <pc:sldMk cId="813981643" sldId="301"/>
        </pc:sldMkLst>
        <pc:spChg chg="del">
          <ac:chgData name="Nadkarni, Nikhil" userId="8cb4e2ce-db3a-48d0-bf6f-d5eb8967a6f9" providerId="ADAL" clId="{3D8AE9CF-11A6-4709-B7E1-28958F68C423}" dt="2023-07-10T16:55:17.200" v="1500" actId="478"/>
          <ac:spMkLst>
            <pc:docMk/>
            <pc:sldMk cId="813981643" sldId="301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30:52.204" v="7951" actId="20577"/>
          <ac:spMkLst>
            <pc:docMk/>
            <pc:sldMk cId="813981643" sldId="301"/>
            <ac:spMk id="3" creationId="{06AC962A-FABE-4F14-91E7-A91AD417ADFF}"/>
          </ac:spMkLst>
        </pc:spChg>
        <pc:spChg chg="add del mod">
          <ac:chgData name="Nadkarni, Nikhil" userId="8cb4e2ce-db3a-48d0-bf6f-d5eb8967a6f9" providerId="ADAL" clId="{3D8AE9CF-11A6-4709-B7E1-28958F68C423}" dt="2023-07-10T16:55:20.894" v="1502" actId="478"/>
          <ac:spMkLst>
            <pc:docMk/>
            <pc:sldMk cId="813981643" sldId="301"/>
            <ac:spMk id="5" creationId="{23DA20E5-DB1C-7DF5-A550-9016408AA50B}"/>
          </ac:spMkLst>
        </pc:spChg>
        <pc:spChg chg="mod">
          <ac:chgData name="Nadkarni, Nikhil" userId="8cb4e2ce-db3a-48d0-bf6f-d5eb8967a6f9" providerId="ADAL" clId="{3D8AE9CF-11A6-4709-B7E1-28958F68C423}" dt="2023-07-10T20:21:57.241" v="6740" actId="962"/>
          <ac:spMkLst>
            <pc:docMk/>
            <pc:sldMk cId="813981643" sldId="301"/>
            <ac:spMk id="6" creationId="{0038D609-7001-4947-92BB-A379E0414168}"/>
          </ac:spMkLst>
        </pc:spChg>
        <pc:spChg chg="add mod">
          <ac:chgData name="Nadkarni, Nikhil" userId="8cb4e2ce-db3a-48d0-bf6f-d5eb8967a6f9" providerId="ADAL" clId="{3D8AE9CF-11A6-4709-B7E1-28958F68C423}" dt="2023-07-10T20:19:18.427" v="6539" actId="33553"/>
          <ac:spMkLst>
            <pc:docMk/>
            <pc:sldMk cId="813981643" sldId="301"/>
            <ac:spMk id="7" creationId="{E51C2173-2F81-6980-F1ED-A887E798F795}"/>
          </ac:spMkLst>
        </pc:spChg>
        <pc:spChg chg="mod">
          <ac:chgData name="Nadkarni, Nikhil" userId="8cb4e2ce-db3a-48d0-bf6f-d5eb8967a6f9" providerId="ADAL" clId="{3D8AE9CF-11A6-4709-B7E1-28958F68C423}" dt="2023-07-10T19:32:52.645" v="4386" actId="20577"/>
          <ac:spMkLst>
            <pc:docMk/>
            <pc:sldMk cId="813981643" sldId="301"/>
            <ac:spMk id="9" creationId="{BADF41E3-B302-4C05-B004-242B35D59BF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Nadkarni, Nikhil" userId="8cb4e2ce-db3a-48d0-bf6f-d5eb8967a6f9" providerId="ADAL" clId="{3D8AE9CF-11A6-4709-B7E1-28958F68C423}" dt="2023-07-07T17:45:31.052" v="191"/>
              <pc2:cmMkLst xmlns:pc2="http://schemas.microsoft.com/office/powerpoint/2019/9/main/command">
                <pc:docMk/>
                <pc:sldMk cId="813981643" sldId="301"/>
                <pc2:cmMk id="{2524FC28-B0DE-4EBD-B50F-DFD147B4412B}"/>
              </pc2:cmMkLst>
              <pc226:cmRplyChg chg="add">
                <pc226:chgData name="Nadkarni, Nikhil" userId="8cb4e2ce-db3a-48d0-bf6f-d5eb8967a6f9" providerId="ADAL" clId="{3D8AE9CF-11A6-4709-B7E1-28958F68C423}" dt="2023-07-07T17:45:31.052" v="191"/>
                <pc2:cmRplyMkLst xmlns:pc2="http://schemas.microsoft.com/office/powerpoint/2019/9/main/command">
                  <pc:docMk/>
                  <pc:sldMk cId="813981643" sldId="301"/>
                  <pc2:cmMk id="{2524FC28-B0DE-4EBD-B50F-DFD147B4412B}"/>
                  <pc2:cmRplyMk id="{AED21DE3-0DDA-4C54-99B4-F411B38C838E}"/>
                </pc2:cmRplyMkLst>
              </pc226:cmRplyChg>
            </pc226:cmChg>
          </p:ext>
        </pc:extLst>
      </pc:sldChg>
      <pc:sldChg chg="modSp mod">
        <pc:chgData name="Nadkarni, Nikhil" userId="8cb4e2ce-db3a-48d0-bf6f-d5eb8967a6f9" providerId="ADAL" clId="{3D8AE9CF-11A6-4709-B7E1-28958F68C423}" dt="2023-07-10T20:21:11.677" v="6668" actId="962"/>
        <pc:sldMkLst>
          <pc:docMk/>
          <pc:sldMk cId="780403188" sldId="302"/>
        </pc:sldMkLst>
        <pc:spChg chg="mod">
          <ac:chgData name="Nadkarni, Nikhil" userId="8cb4e2ce-db3a-48d0-bf6f-d5eb8967a6f9" providerId="ADAL" clId="{3D8AE9CF-11A6-4709-B7E1-28958F68C423}" dt="2023-07-10T17:08:48.025" v="2330" actId="5793"/>
          <ac:spMkLst>
            <pc:docMk/>
            <pc:sldMk cId="780403188" sldId="302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1:11.677" v="6668" actId="962"/>
          <ac:spMkLst>
            <pc:docMk/>
            <pc:sldMk cId="780403188" sldId="302"/>
            <ac:spMk id="6" creationId="{0038D609-7001-4947-92BB-A379E0414168}"/>
          </ac:spMkLst>
        </pc:spChg>
      </pc:sldChg>
      <pc:sldChg chg="addSp delSp modSp mod">
        <pc:chgData name="Nadkarni, Nikhil" userId="8cb4e2ce-db3a-48d0-bf6f-d5eb8967a6f9" providerId="ADAL" clId="{3D8AE9CF-11A6-4709-B7E1-28958F68C423}" dt="2023-07-10T20:23:06.527" v="7154" actId="962"/>
        <pc:sldMkLst>
          <pc:docMk/>
          <pc:sldMk cId="1650613911" sldId="303"/>
        </pc:sldMkLst>
        <pc:spChg chg="mod">
          <ac:chgData name="Nadkarni, Nikhil" userId="8cb4e2ce-db3a-48d0-bf6f-d5eb8967a6f9" providerId="ADAL" clId="{3D8AE9CF-11A6-4709-B7E1-28958F68C423}" dt="2023-07-10T17:52:58.742" v="3055" actId="1076"/>
          <ac:spMkLst>
            <pc:docMk/>
            <pc:sldMk cId="1650613911" sldId="303"/>
            <ac:spMk id="2" creationId="{71ECDFDF-B56B-4C43-BBBF-D35CEE5E475F}"/>
          </ac:spMkLst>
        </pc:spChg>
        <pc:spChg chg="add mod">
          <ac:chgData name="Nadkarni, Nikhil" userId="8cb4e2ce-db3a-48d0-bf6f-d5eb8967a6f9" providerId="ADAL" clId="{3D8AE9CF-11A6-4709-B7E1-28958F68C423}" dt="2023-07-10T17:52:48.298" v="3053"/>
          <ac:spMkLst>
            <pc:docMk/>
            <pc:sldMk cId="1650613911" sldId="303"/>
            <ac:spMk id="4" creationId="{39CAB15A-E557-E834-FDBF-E6E97286C4B5}"/>
          </ac:spMkLst>
        </pc:spChg>
        <pc:spChg chg="add mod">
          <ac:chgData name="Nadkarni, Nikhil" userId="8cb4e2ce-db3a-48d0-bf6f-d5eb8967a6f9" providerId="ADAL" clId="{3D8AE9CF-11A6-4709-B7E1-28958F68C423}" dt="2023-07-10T17:52:48.298" v="3053"/>
          <ac:spMkLst>
            <pc:docMk/>
            <pc:sldMk cId="1650613911" sldId="303"/>
            <ac:spMk id="5" creationId="{1C6C5C92-375C-84E1-8E94-D2AF9314A37B}"/>
          </ac:spMkLst>
        </pc:spChg>
        <pc:spChg chg="mod">
          <ac:chgData name="Nadkarni, Nikhil" userId="8cb4e2ce-db3a-48d0-bf6f-d5eb8967a6f9" providerId="ADAL" clId="{3D8AE9CF-11A6-4709-B7E1-28958F68C423}" dt="2023-07-10T20:21:17.379" v="6671" actId="962"/>
          <ac:spMkLst>
            <pc:docMk/>
            <pc:sldMk cId="1650613911" sldId="303"/>
            <ac:spMk id="6" creationId="{0038D609-7001-4947-92BB-A379E0414168}"/>
          </ac:spMkLst>
        </pc:spChg>
        <pc:spChg chg="add mod">
          <ac:chgData name="Nadkarni, Nikhil" userId="8cb4e2ce-db3a-48d0-bf6f-d5eb8967a6f9" providerId="ADAL" clId="{3D8AE9CF-11A6-4709-B7E1-28958F68C423}" dt="2023-07-10T17:52:48.298" v="3053"/>
          <ac:spMkLst>
            <pc:docMk/>
            <pc:sldMk cId="1650613911" sldId="303"/>
            <ac:spMk id="10" creationId="{B294FC7F-3055-723D-D8CB-28DFC3D1DD68}"/>
          </ac:spMkLst>
        </pc:spChg>
        <pc:spChg chg="mod">
          <ac:chgData name="Nadkarni, Nikhil" userId="8cb4e2ce-db3a-48d0-bf6f-d5eb8967a6f9" providerId="ADAL" clId="{3D8AE9CF-11A6-4709-B7E1-28958F68C423}" dt="2023-07-10T17:52:54.208" v="3054" actId="14100"/>
          <ac:spMkLst>
            <pc:docMk/>
            <pc:sldMk cId="1650613911" sldId="303"/>
            <ac:spMk id="11" creationId="{80375151-8B20-3D8C-FEBF-EF4330089FFA}"/>
          </ac:spMkLst>
        </pc:spChg>
        <pc:graphicFrameChg chg="add mod">
          <ac:chgData name="Nadkarni, Nikhil" userId="8cb4e2ce-db3a-48d0-bf6f-d5eb8967a6f9" providerId="ADAL" clId="{3D8AE9CF-11A6-4709-B7E1-28958F68C423}" dt="2023-07-10T20:23:06.527" v="7154" actId="962"/>
          <ac:graphicFrameMkLst>
            <pc:docMk/>
            <pc:sldMk cId="1650613911" sldId="303"/>
            <ac:graphicFrameMk id="3" creationId="{4D729383-A3E2-ABBC-94AE-375541A950E8}"/>
          </ac:graphicFrameMkLst>
        </pc:graphicFrameChg>
        <pc:picChg chg="del mod">
          <ac:chgData name="Nadkarni, Nikhil" userId="8cb4e2ce-db3a-48d0-bf6f-d5eb8967a6f9" providerId="ADAL" clId="{3D8AE9CF-11A6-4709-B7E1-28958F68C423}" dt="2023-07-10T17:52:47.928" v="3052" actId="478"/>
          <ac:picMkLst>
            <pc:docMk/>
            <pc:sldMk cId="1650613911" sldId="303"/>
            <ac:picMk id="7" creationId="{5DB52DC8-48BD-AB73-3C85-3BDA5B7DF1DB}"/>
          </ac:picMkLst>
        </pc:picChg>
      </pc:sldChg>
      <pc:sldChg chg="modSp mod">
        <pc:chgData name="Nadkarni, Nikhil" userId="8cb4e2ce-db3a-48d0-bf6f-d5eb8967a6f9" providerId="ADAL" clId="{3D8AE9CF-11A6-4709-B7E1-28958F68C423}" dt="2023-07-10T20:23:14.175" v="7194" actId="962"/>
        <pc:sldMkLst>
          <pc:docMk/>
          <pc:sldMk cId="1054884385" sldId="304"/>
        </pc:sldMkLst>
        <pc:spChg chg="mod">
          <ac:chgData name="Nadkarni, Nikhil" userId="8cb4e2ce-db3a-48d0-bf6f-d5eb8967a6f9" providerId="ADAL" clId="{3D8AE9CF-11A6-4709-B7E1-28958F68C423}" dt="2023-07-10T17:13:48.622" v="2521" actId="1076"/>
          <ac:spMkLst>
            <pc:docMk/>
            <pc:sldMk cId="1054884385" sldId="304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17:53:38.889" v="3108" actId="20577"/>
          <ac:spMkLst>
            <pc:docMk/>
            <pc:sldMk cId="1054884385" sldId="304"/>
            <ac:spMk id="4" creationId="{DC0520D7-75CC-508B-69FB-965CE40BDC11}"/>
          </ac:spMkLst>
        </pc:spChg>
        <pc:spChg chg="mod">
          <ac:chgData name="Nadkarni, Nikhil" userId="8cb4e2ce-db3a-48d0-bf6f-d5eb8967a6f9" providerId="ADAL" clId="{3D8AE9CF-11A6-4709-B7E1-28958F68C423}" dt="2023-07-10T20:21:19.022" v="6672" actId="962"/>
          <ac:spMkLst>
            <pc:docMk/>
            <pc:sldMk cId="1054884385" sldId="304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7:53:47.431" v="3112" actId="20577"/>
          <ac:spMkLst>
            <pc:docMk/>
            <pc:sldMk cId="1054884385" sldId="304"/>
            <ac:spMk id="9" creationId="{BADF41E3-B302-4C05-B004-242B35D59BFB}"/>
          </ac:spMkLst>
        </pc:spChg>
        <pc:picChg chg="mod">
          <ac:chgData name="Nadkarni, Nikhil" userId="8cb4e2ce-db3a-48d0-bf6f-d5eb8967a6f9" providerId="ADAL" clId="{3D8AE9CF-11A6-4709-B7E1-28958F68C423}" dt="2023-07-10T20:23:14.175" v="7194" actId="962"/>
          <ac:picMkLst>
            <pc:docMk/>
            <pc:sldMk cId="1054884385" sldId="304"/>
            <ac:picMk id="3" creationId="{FAE45911-6294-4543-5D47-8CC65D76669B}"/>
          </ac:picMkLst>
        </pc:picChg>
      </pc:sldChg>
      <pc:sldChg chg="modSp mod">
        <pc:chgData name="Nadkarni, Nikhil" userId="8cb4e2ce-db3a-48d0-bf6f-d5eb8967a6f9" providerId="ADAL" clId="{3D8AE9CF-11A6-4709-B7E1-28958F68C423}" dt="2023-07-10T20:23:36.333" v="7278" actId="962"/>
        <pc:sldMkLst>
          <pc:docMk/>
          <pc:sldMk cId="156447753" sldId="305"/>
        </pc:sldMkLst>
        <pc:spChg chg="mod">
          <ac:chgData name="Nadkarni, Nikhil" userId="8cb4e2ce-db3a-48d0-bf6f-d5eb8967a6f9" providerId="ADAL" clId="{3D8AE9CF-11A6-4709-B7E1-28958F68C423}" dt="2023-07-10T17:54:24.174" v="3210" actId="403"/>
          <ac:spMkLst>
            <pc:docMk/>
            <pc:sldMk cId="156447753" sldId="305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21:20.603" v="6673" actId="962"/>
          <ac:spMkLst>
            <pc:docMk/>
            <pc:sldMk cId="156447753" sldId="305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7:54:30.153" v="3215" actId="20577"/>
          <ac:spMkLst>
            <pc:docMk/>
            <pc:sldMk cId="156447753" sldId="305"/>
            <ac:spMk id="9" creationId="{BADF41E3-B302-4C05-B004-242B35D59BFB}"/>
          </ac:spMkLst>
        </pc:spChg>
        <pc:picChg chg="mod">
          <ac:chgData name="Nadkarni, Nikhil" userId="8cb4e2ce-db3a-48d0-bf6f-d5eb8967a6f9" providerId="ADAL" clId="{3D8AE9CF-11A6-4709-B7E1-28958F68C423}" dt="2023-07-10T20:23:36.333" v="7278" actId="962"/>
          <ac:picMkLst>
            <pc:docMk/>
            <pc:sldMk cId="156447753" sldId="305"/>
            <ac:picMk id="50" creationId="{A1F8D0D6-16E7-918C-6278-B9522CE6D9E9}"/>
          </ac:picMkLst>
        </pc:picChg>
      </pc:sldChg>
      <pc:sldChg chg="del">
        <pc:chgData name="Nadkarni, Nikhil" userId="8cb4e2ce-db3a-48d0-bf6f-d5eb8967a6f9" providerId="ADAL" clId="{3D8AE9CF-11A6-4709-B7E1-28958F68C423}" dt="2023-07-10T17:55:00.341" v="3219" actId="47"/>
        <pc:sldMkLst>
          <pc:docMk/>
          <pc:sldMk cId="2315025724" sldId="306"/>
        </pc:sldMkLst>
      </pc:sldChg>
      <pc:sldChg chg="addSp delSp modSp mod">
        <pc:chgData name="Nadkarni, Nikhil" userId="8cb4e2ce-db3a-48d0-bf6f-d5eb8967a6f9" providerId="ADAL" clId="{3D8AE9CF-11A6-4709-B7E1-28958F68C423}" dt="2023-07-10T20:24:16.547" v="7458" actId="962"/>
        <pc:sldMkLst>
          <pc:docMk/>
          <pc:sldMk cId="1936964873" sldId="307"/>
        </pc:sldMkLst>
        <pc:spChg chg="mod">
          <ac:chgData name="Nadkarni, Nikhil" userId="8cb4e2ce-db3a-48d0-bf6f-d5eb8967a6f9" providerId="ADAL" clId="{3D8AE9CF-11A6-4709-B7E1-28958F68C423}" dt="2023-07-10T19:04:56.557" v="3407" actId="1076"/>
          <ac:spMkLst>
            <pc:docMk/>
            <pc:sldMk cId="1936964873" sldId="307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19:14:31.376" v="3725" actId="20577"/>
          <ac:spMkLst>
            <pc:docMk/>
            <pc:sldMk cId="1936964873" sldId="307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17.586" v="6750" actId="962"/>
          <ac:spMkLst>
            <pc:docMk/>
            <pc:sldMk cId="1936964873" sldId="307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9:07:32.351" v="3512" actId="20577"/>
          <ac:spMkLst>
            <pc:docMk/>
            <pc:sldMk cId="1936964873" sldId="307"/>
            <ac:spMk id="9" creationId="{BADF41E3-B302-4C05-B004-242B35D59BFB}"/>
          </ac:spMkLst>
        </pc:spChg>
        <pc:picChg chg="add del mod">
          <ac:chgData name="Nadkarni, Nikhil" userId="8cb4e2ce-db3a-48d0-bf6f-d5eb8967a6f9" providerId="ADAL" clId="{3D8AE9CF-11A6-4709-B7E1-28958F68C423}" dt="2023-07-10T19:09:37.275" v="3645" actId="478"/>
          <ac:picMkLst>
            <pc:docMk/>
            <pc:sldMk cId="1936964873" sldId="307"/>
            <ac:picMk id="5" creationId="{5BA58F11-F945-3CA1-B968-9BC0A0E02431}"/>
          </ac:picMkLst>
        </pc:picChg>
        <pc:picChg chg="add del mod">
          <ac:chgData name="Nadkarni, Nikhil" userId="8cb4e2ce-db3a-48d0-bf6f-d5eb8967a6f9" providerId="ADAL" clId="{3D8AE9CF-11A6-4709-B7E1-28958F68C423}" dt="2023-07-10T19:10:31.355" v="3651" actId="478"/>
          <ac:picMkLst>
            <pc:docMk/>
            <pc:sldMk cId="1936964873" sldId="307"/>
            <ac:picMk id="7" creationId="{BD4A3E9F-07AB-8736-8892-147353617FF1}"/>
          </ac:picMkLst>
        </pc:picChg>
        <pc:picChg chg="del">
          <ac:chgData name="Nadkarni, Nikhil" userId="8cb4e2ce-db3a-48d0-bf6f-d5eb8967a6f9" providerId="ADAL" clId="{3D8AE9CF-11A6-4709-B7E1-28958F68C423}" dt="2023-07-10T19:09:36.171" v="3643" actId="478"/>
          <ac:picMkLst>
            <pc:docMk/>
            <pc:sldMk cId="1936964873" sldId="307"/>
            <ac:picMk id="10" creationId="{7DE6C690-F5FC-D904-1697-C4789E2EBE23}"/>
          </ac:picMkLst>
        </pc:picChg>
        <pc:picChg chg="add del mod">
          <ac:chgData name="Nadkarni, Nikhil" userId="8cb4e2ce-db3a-48d0-bf6f-d5eb8967a6f9" providerId="ADAL" clId="{3D8AE9CF-11A6-4709-B7E1-28958F68C423}" dt="2023-07-10T19:14:12.901" v="3676" actId="21"/>
          <ac:picMkLst>
            <pc:docMk/>
            <pc:sldMk cId="1936964873" sldId="307"/>
            <ac:picMk id="12" creationId="{10D0B3D8-B919-3303-1AF9-EBE89B73B546}"/>
          </ac:picMkLst>
        </pc:picChg>
        <pc:picChg chg="del">
          <ac:chgData name="Nadkarni, Nikhil" userId="8cb4e2ce-db3a-48d0-bf6f-d5eb8967a6f9" providerId="ADAL" clId="{3D8AE9CF-11A6-4709-B7E1-28958F68C423}" dt="2023-07-10T16:53:26.075" v="1436" actId="478"/>
          <ac:picMkLst>
            <pc:docMk/>
            <pc:sldMk cId="1936964873" sldId="307"/>
            <ac:picMk id="12" creationId="{803BE485-9682-5C11-1731-755051086CDE}"/>
          </ac:picMkLst>
        </pc:picChg>
        <pc:picChg chg="add del mod">
          <ac:chgData name="Nadkarni, Nikhil" userId="8cb4e2ce-db3a-48d0-bf6f-d5eb8967a6f9" providerId="ADAL" clId="{3D8AE9CF-11A6-4709-B7E1-28958F68C423}" dt="2023-07-10T19:14:06.985" v="3674"/>
          <ac:picMkLst>
            <pc:docMk/>
            <pc:sldMk cId="1936964873" sldId="307"/>
            <ac:picMk id="13" creationId="{40152D77-BE39-3662-F7CE-495BAD585A09}"/>
          </ac:picMkLst>
        </pc:picChg>
        <pc:picChg chg="add del mod">
          <ac:chgData name="Nadkarni, Nikhil" userId="8cb4e2ce-db3a-48d0-bf6f-d5eb8967a6f9" providerId="ADAL" clId="{3D8AE9CF-11A6-4709-B7E1-28958F68C423}" dt="2023-07-10T19:14:06.985" v="3674"/>
          <ac:picMkLst>
            <pc:docMk/>
            <pc:sldMk cId="1936964873" sldId="307"/>
            <ac:picMk id="14" creationId="{AB7B216B-B7D9-BD5D-F1E1-0C44C36085FA}"/>
          </ac:picMkLst>
        </pc:picChg>
        <pc:picChg chg="add del mod">
          <ac:chgData name="Nadkarni, Nikhil" userId="8cb4e2ce-db3a-48d0-bf6f-d5eb8967a6f9" providerId="ADAL" clId="{3D8AE9CF-11A6-4709-B7E1-28958F68C423}" dt="2023-07-10T19:14:06.985" v="3674"/>
          <ac:picMkLst>
            <pc:docMk/>
            <pc:sldMk cId="1936964873" sldId="307"/>
            <ac:picMk id="15" creationId="{4BFB012A-FF9B-7B83-A6D9-7B73B521CA9C}"/>
          </ac:picMkLst>
        </pc:picChg>
        <pc:picChg chg="del">
          <ac:chgData name="Nadkarni, Nikhil" userId="8cb4e2ce-db3a-48d0-bf6f-d5eb8967a6f9" providerId="ADAL" clId="{3D8AE9CF-11A6-4709-B7E1-28958F68C423}" dt="2023-07-10T19:09:36.875" v="3644" actId="478"/>
          <ac:picMkLst>
            <pc:docMk/>
            <pc:sldMk cId="1936964873" sldId="307"/>
            <ac:picMk id="16" creationId="{91F5EBE7-E239-A197-1C89-9368475D70B7}"/>
          </ac:picMkLst>
        </pc:picChg>
        <pc:picChg chg="add mod">
          <ac:chgData name="Nadkarni, Nikhil" userId="8cb4e2ce-db3a-48d0-bf6f-d5eb8967a6f9" providerId="ADAL" clId="{3D8AE9CF-11A6-4709-B7E1-28958F68C423}" dt="2023-07-10T20:23:59.630" v="7346" actId="962"/>
          <ac:picMkLst>
            <pc:docMk/>
            <pc:sldMk cId="1936964873" sldId="307"/>
            <ac:picMk id="17" creationId="{3C681B0C-2B64-6E7B-C0E0-5ADEFA510BDC}"/>
          </ac:picMkLst>
        </pc:picChg>
        <pc:picChg chg="add mod">
          <ac:chgData name="Nadkarni, Nikhil" userId="8cb4e2ce-db3a-48d0-bf6f-d5eb8967a6f9" providerId="ADAL" clId="{3D8AE9CF-11A6-4709-B7E1-28958F68C423}" dt="2023-07-10T20:24:06.381" v="7398" actId="962"/>
          <ac:picMkLst>
            <pc:docMk/>
            <pc:sldMk cId="1936964873" sldId="307"/>
            <ac:picMk id="18" creationId="{75153018-04CD-37B5-8939-34730B5E95F1}"/>
          </ac:picMkLst>
        </pc:picChg>
        <pc:picChg chg="add del mod">
          <ac:chgData name="Nadkarni, Nikhil" userId="8cb4e2ce-db3a-48d0-bf6f-d5eb8967a6f9" providerId="ADAL" clId="{3D8AE9CF-11A6-4709-B7E1-28958F68C423}" dt="2023-07-10T19:14:38.214" v="3726" actId="21"/>
          <ac:picMkLst>
            <pc:docMk/>
            <pc:sldMk cId="1936964873" sldId="307"/>
            <ac:picMk id="19" creationId="{5014FD3F-28F9-D7E2-EDCE-052E1384B7E8}"/>
          </ac:picMkLst>
        </pc:picChg>
        <pc:picChg chg="add mod ord">
          <ac:chgData name="Nadkarni, Nikhil" userId="8cb4e2ce-db3a-48d0-bf6f-d5eb8967a6f9" providerId="ADAL" clId="{3D8AE9CF-11A6-4709-B7E1-28958F68C423}" dt="2023-07-10T20:24:16.547" v="7458" actId="962"/>
          <ac:picMkLst>
            <pc:docMk/>
            <pc:sldMk cId="1936964873" sldId="307"/>
            <ac:picMk id="21" creationId="{B280E497-EB8D-C881-CA0B-61D000E7EDF7}"/>
          </ac:picMkLst>
        </pc:picChg>
      </pc:sldChg>
      <pc:sldChg chg="modSp mod ord addCm">
        <pc:chgData name="Nadkarni, Nikhil" userId="8cb4e2ce-db3a-48d0-bf6f-d5eb8967a6f9" providerId="ADAL" clId="{3D8AE9CF-11A6-4709-B7E1-28958F68C423}" dt="2023-07-10T20:22:16.080" v="6749" actId="962"/>
        <pc:sldMkLst>
          <pc:docMk/>
          <pc:sldMk cId="2338493111" sldId="308"/>
        </pc:sldMkLst>
        <pc:spChg chg="mod">
          <ac:chgData name="Nadkarni, Nikhil" userId="8cb4e2ce-db3a-48d0-bf6f-d5eb8967a6f9" providerId="ADAL" clId="{3D8AE9CF-11A6-4709-B7E1-28958F68C423}" dt="2023-07-10T17:59:35.764" v="3304" actId="20577"/>
          <ac:spMkLst>
            <pc:docMk/>
            <pc:sldMk cId="2338493111" sldId="308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19:07:16.941" v="3504" actId="20577"/>
          <ac:spMkLst>
            <pc:docMk/>
            <pc:sldMk cId="2338493111" sldId="308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16.080" v="6749" actId="962"/>
          <ac:spMkLst>
            <pc:docMk/>
            <pc:sldMk cId="2338493111" sldId="308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9:07:27.822" v="3508" actId="20577"/>
          <ac:spMkLst>
            <pc:docMk/>
            <pc:sldMk cId="2338493111" sldId="308"/>
            <ac:spMk id="9" creationId="{BADF41E3-B302-4C05-B004-242B35D59BF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Nadkarni, Nikhil" userId="8cb4e2ce-db3a-48d0-bf6f-d5eb8967a6f9" providerId="ADAL" clId="{3D8AE9CF-11A6-4709-B7E1-28958F68C423}" dt="2023-07-07T17:41:04.723" v="14"/>
              <pc2:cmMkLst xmlns:pc2="http://schemas.microsoft.com/office/powerpoint/2019/9/main/command">
                <pc:docMk/>
                <pc:sldMk cId="2338493111" sldId="308"/>
                <pc2:cmMk id="{04F58FA7-7559-47E9-805C-3A35D8504660}"/>
              </pc2:cmMkLst>
            </pc226:cmChg>
          </p:ext>
        </pc:extLst>
      </pc:sldChg>
      <pc:sldChg chg="addSp delSp modSp mod modCm">
        <pc:chgData name="Nadkarni, Nikhil" userId="8cb4e2ce-db3a-48d0-bf6f-d5eb8967a6f9" providerId="ADAL" clId="{3D8AE9CF-11A6-4709-B7E1-28958F68C423}" dt="2023-07-10T20:21:07.890" v="6666" actId="962"/>
        <pc:sldMkLst>
          <pc:docMk/>
          <pc:sldMk cId="1963271544" sldId="1132"/>
        </pc:sldMkLst>
        <pc:spChg chg="add mod">
          <ac:chgData name="Nadkarni, Nikhil" userId="8cb4e2ce-db3a-48d0-bf6f-d5eb8967a6f9" providerId="ADAL" clId="{3D8AE9CF-11A6-4709-B7E1-28958F68C423}" dt="2023-07-10T16:05:23.330" v="436" actId="27636"/>
          <ac:spMkLst>
            <pc:docMk/>
            <pc:sldMk cId="1963271544" sldId="1132"/>
            <ac:spMk id="2" creationId="{5B1EE775-0DD9-9523-89D7-58F9EA9BC236}"/>
          </ac:spMkLst>
        </pc:spChg>
        <pc:spChg chg="del">
          <ac:chgData name="Nadkarni, Nikhil" userId="8cb4e2ce-db3a-48d0-bf6f-d5eb8967a6f9" providerId="ADAL" clId="{3D8AE9CF-11A6-4709-B7E1-28958F68C423}" dt="2023-07-10T16:03:21.177" v="398" actId="478"/>
          <ac:spMkLst>
            <pc:docMk/>
            <pc:sldMk cId="1963271544" sldId="1132"/>
            <ac:spMk id="3" creationId="{5759D7FB-62D6-BB6F-C5C9-3B1CCCF65691}"/>
          </ac:spMkLst>
        </pc:spChg>
        <pc:spChg chg="add mod">
          <ac:chgData name="Nadkarni, Nikhil" userId="8cb4e2ce-db3a-48d0-bf6f-d5eb8967a6f9" providerId="ADAL" clId="{3D8AE9CF-11A6-4709-B7E1-28958F68C423}" dt="2023-07-10T20:19:11.551" v="6536" actId="33553"/>
          <ac:spMkLst>
            <pc:docMk/>
            <pc:sldMk cId="1963271544" sldId="1132"/>
            <ac:spMk id="4" creationId="{9DA8C127-7518-02FF-2670-E6AF73DACDE2}"/>
          </ac:spMkLst>
        </pc:spChg>
        <pc:spChg chg="del">
          <ac:chgData name="Nadkarni, Nikhil" userId="8cb4e2ce-db3a-48d0-bf6f-d5eb8967a6f9" providerId="ADAL" clId="{3D8AE9CF-11A6-4709-B7E1-28958F68C423}" dt="2023-07-10T16:04:55.420" v="424" actId="478"/>
          <ac:spMkLst>
            <pc:docMk/>
            <pc:sldMk cId="1963271544" sldId="1132"/>
            <ac:spMk id="5" creationId="{D8AC20E5-DC45-4CD6-B89A-B6A38FF880E8}"/>
          </ac:spMkLst>
        </pc:spChg>
        <pc:spChg chg="add mod">
          <ac:chgData name="Nadkarni, Nikhil" userId="8cb4e2ce-db3a-48d0-bf6f-d5eb8967a6f9" providerId="ADAL" clId="{3D8AE9CF-11A6-4709-B7E1-28958F68C423}" dt="2023-07-10T20:21:07.890" v="6666" actId="962"/>
          <ac:spMkLst>
            <pc:docMk/>
            <pc:sldMk cId="1963271544" sldId="1132"/>
            <ac:spMk id="7" creationId="{79D560B9-9B58-7233-67C2-65CD20C91461}"/>
          </ac:spMkLst>
        </pc:spChg>
        <pc:spChg chg="add del mod">
          <ac:chgData name="Nadkarni, Nikhil" userId="8cb4e2ce-db3a-48d0-bf6f-d5eb8967a6f9" providerId="ADAL" clId="{3D8AE9CF-11A6-4709-B7E1-28958F68C423}" dt="2023-07-10T16:04:59.528" v="425" actId="478"/>
          <ac:spMkLst>
            <pc:docMk/>
            <pc:sldMk cId="1963271544" sldId="1132"/>
            <ac:spMk id="9" creationId="{E95EDD29-A832-2934-1A8B-96148AA57F61}"/>
          </ac:spMkLst>
        </pc:spChg>
        <pc:spChg chg="add mod">
          <ac:chgData name="Nadkarni, Nikhil" userId="8cb4e2ce-db3a-48d0-bf6f-d5eb8967a6f9" providerId="ADAL" clId="{3D8AE9CF-11A6-4709-B7E1-28958F68C423}" dt="2023-07-10T17:49:24.469" v="3046"/>
          <ac:spMkLst>
            <pc:docMk/>
            <pc:sldMk cId="1963271544" sldId="1132"/>
            <ac:spMk id="10" creationId="{A5057488-8D75-303E-AA09-4CB3EA3C2D6F}"/>
          </ac:spMkLst>
        </pc:spChg>
        <pc:spChg chg="add mod">
          <ac:chgData name="Nadkarni, Nikhil" userId="8cb4e2ce-db3a-48d0-bf6f-d5eb8967a6f9" providerId="ADAL" clId="{3D8AE9CF-11A6-4709-B7E1-28958F68C423}" dt="2023-07-10T17:49:24.469" v="3046"/>
          <ac:spMkLst>
            <pc:docMk/>
            <pc:sldMk cId="1963271544" sldId="1132"/>
            <ac:spMk id="11" creationId="{CEA035ED-780D-D8A1-57EC-6AD5BA6B1815}"/>
          </ac:spMkLst>
        </pc:spChg>
        <pc:spChg chg="mod">
          <ac:chgData name="Nadkarni, Nikhil" userId="8cb4e2ce-db3a-48d0-bf6f-d5eb8967a6f9" providerId="ADAL" clId="{3D8AE9CF-11A6-4709-B7E1-28958F68C423}" dt="2023-07-10T16:05:30.870" v="437" actId="1076"/>
          <ac:spMkLst>
            <pc:docMk/>
            <pc:sldMk cId="1963271544" sldId="1132"/>
            <ac:spMk id="26" creationId="{07CE0FFF-B88F-4BF6-A69A-2F7EF781B2CD}"/>
          </ac:spMkLst>
        </pc:spChg>
        <pc:spChg chg="del">
          <ac:chgData name="Nadkarni, Nikhil" userId="8cb4e2ce-db3a-48d0-bf6f-d5eb8967a6f9" providerId="ADAL" clId="{3D8AE9CF-11A6-4709-B7E1-28958F68C423}" dt="2023-07-07T16:54:16.858" v="4" actId="478"/>
          <ac:spMkLst>
            <pc:docMk/>
            <pc:sldMk cId="1963271544" sldId="1132"/>
            <ac:spMk id="27" creationId="{BD5EC4B2-249C-8FC9-B20B-A67FB213FBA3}"/>
          </ac:spMkLst>
        </pc:spChg>
        <pc:spChg chg="del">
          <ac:chgData name="Nadkarni, Nikhil" userId="8cb4e2ce-db3a-48d0-bf6f-d5eb8967a6f9" providerId="ADAL" clId="{3D8AE9CF-11A6-4709-B7E1-28958F68C423}" dt="2023-07-10T16:03:22.938" v="399" actId="478"/>
          <ac:spMkLst>
            <pc:docMk/>
            <pc:sldMk cId="1963271544" sldId="1132"/>
            <ac:spMk id="30" creationId="{7E260FEA-554A-29D6-99FA-2FAD9937CD65}"/>
          </ac:spMkLst>
        </pc:spChg>
        <pc:spChg chg="add del mod">
          <ac:chgData name="Nadkarni, Nikhil" userId="8cb4e2ce-db3a-48d0-bf6f-d5eb8967a6f9" providerId="ADAL" clId="{3D8AE9CF-11A6-4709-B7E1-28958F68C423}" dt="2023-07-10T16:05:30.870" v="437" actId="1076"/>
          <ac:spMkLst>
            <pc:docMk/>
            <pc:sldMk cId="1963271544" sldId="1132"/>
            <ac:spMk id="31" creationId="{303B9770-7DE8-9A95-C80B-6C4BC1773EAF}"/>
          </ac:spMkLst>
        </pc:spChg>
        <pc:spChg chg="del">
          <ac:chgData name="Nadkarni, Nikhil" userId="8cb4e2ce-db3a-48d0-bf6f-d5eb8967a6f9" providerId="ADAL" clId="{3D8AE9CF-11A6-4709-B7E1-28958F68C423}" dt="2023-07-10T16:03:50.852" v="405" actId="478"/>
          <ac:spMkLst>
            <pc:docMk/>
            <pc:sldMk cId="1963271544" sldId="1132"/>
            <ac:spMk id="35" creationId="{57EF2B9E-5D98-FDF3-12C3-55D4D3DE91C0}"/>
          </ac:spMkLst>
        </pc:spChg>
        <pc:spChg chg="del mod">
          <ac:chgData name="Nadkarni, Nikhil" userId="8cb4e2ce-db3a-48d0-bf6f-d5eb8967a6f9" providerId="ADAL" clId="{3D8AE9CF-11A6-4709-B7E1-28958F68C423}" dt="2023-07-07T16:54:26.756" v="7" actId="478"/>
          <ac:spMkLst>
            <pc:docMk/>
            <pc:sldMk cId="1963271544" sldId="1132"/>
            <ac:spMk id="36" creationId="{6FB8B396-EED3-716E-D977-D502528D3820}"/>
          </ac:spMkLst>
        </pc:spChg>
        <pc:spChg chg="del">
          <ac:chgData name="Nadkarni, Nikhil" userId="8cb4e2ce-db3a-48d0-bf6f-d5eb8967a6f9" providerId="ADAL" clId="{3D8AE9CF-11A6-4709-B7E1-28958F68C423}" dt="2023-07-10T16:03:25.917" v="401" actId="478"/>
          <ac:spMkLst>
            <pc:docMk/>
            <pc:sldMk cId="1963271544" sldId="1132"/>
            <ac:spMk id="41" creationId="{704DE6C9-AC7E-1F98-3669-B39F0EE75E90}"/>
          </ac:spMkLst>
        </pc:spChg>
        <pc:spChg chg="del">
          <ac:chgData name="Nadkarni, Nikhil" userId="8cb4e2ce-db3a-48d0-bf6f-d5eb8967a6f9" providerId="ADAL" clId="{3D8AE9CF-11A6-4709-B7E1-28958F68C423}" dt="2023-07-10T16:03:24.407" v="400" actId="478"/>
          <ac:spMkLst>
            <pc:docMk/>
            <pc:sldMk cId="1963271544" sldId="1132"/>
            <ac:spMk id="43" creationId="{6B9F7C1F-C9E0-0271-6B62-C62315ADA57A}"/>
          </ac:spMkLst>
        </pc:spChg>
        <pc:spChg chg="del mod">
          <ac:chgData name="Nadkarni, Nikhil" userId="8cb4e2ce-db3a-48d0-bf6f-d5eb8967a6f9" providerId="ADAL" clId="{3D8AE9CF-11A6-4709-B7E1-28958F68C423}" dt="2023-07-10T16:02:00.986" v="274" actId="478"/>
          <ac:spMkLst>
            <pc:docMk/>
            <pc:sldMk cId="1963271544" sldId="1132"/>
            <ac:spMk id="47" creationId="{34D62E1C-E61F-7556-AD87-5F0899626A87}"/>
          </ac:spMkLst>
        </pc:spChg>
        <pc:picChg chg="del">
          <ac:chgData name="Nadkarni, Nikhil" userId="8cb4e2ce-db3a-48d0-bf6f-d5eb8967a6f9" providerId="ADAL" clId="{3D8AE9CF-11A6-4709-B7E1-28958F68C423}" dt="2023-07-07T16:54:20.481" v="5" actId="478"/>
          <ac:picMkLst>
            <pc:docMk/>
            <pc:sldMk cId="1963271544" sldId="1132"/>
            <ac:picMk id="44" creationId="{1D84CAB1-A4FA-DFEC-E329-9F6B4A370D2B}"/>
          </ac:picMkLst>
        </pc:picChg>
        <pc:picChg chg="del">
          <ac:chgData name="Nadkarni, Nikhil" userId="8cb4e2ce-db3a-48d0-bf6f-d5eb8967a6f9" providerId="ADAL" clId="{3D8AE9CF-11A6-4709-B7E1-28958F68C423}" dt="2023-07-10T16:03:53.256" v="406" actId="478"/>
          <ac:picMkLst>
            <pc:docMk/>
            <pc:sldMk cId="1963271544" sldId="1132"/>
            <ac:picMk id="46" creationId="{9B6E9984-F32B-D4EC-D987-B245E70B9836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Nadkarni, Nikhil" userId="8cb4e2ce-db3a-48d0-bf6f-d5eb8967a6f9" providerId="ADAL" clId="{3D8AE9CF-11A6-4709-B7E1-28958F68C423}" dt="2023-07-07T16:54:26.769" v="8" actId="2056"/>
              <pc2:cmMkLst xmlns:pc2="http://schemas.microsoft.com/office/powerpoint/2019/9/main/command">
                <pc:docMk/>
                <pc:sldMk cId="1963271544" sldId="1132"/>
                <pc2:cmMk id="{69E4B366-BD72-4D1B-9B07-3B5D0AF1E6B5}"/>
              </pc2:cmMkLst>
            </pc226:cmChg>
          </p:ext>
        </pc:extLst>
      </pc:sldChg>
      <pc:sldChg chg="addSp delSp modSp mod modCm">
        <pc:chgData name="Nadkarni, Nikhil" userId="8cb4e2ce-db3a-48d0-bf6f-d5eb8967a6f9" providerId="ADAL" clId="{3D8AE9CF-11A6-4709-B7E1-28958F68C423}" dt="2023-07-10T20:22:41.504" v="6960" actId="962"/>
        <pc:sldMkLst>
          <pc:docMk/>
          <pc:sldMk cId="3474700355" sldId="1958"/>
        </pc:sldMkLst>
        <pc:spChg chg="add mod">
          <ac:chgData name="Nadkarni, Nikhil" userId="8cb4e2ce-db3a-48d0-bf6f-d5eb8967a6f9" providerId="ADAL" clId="{3D8AE9CF-11A6-4709-B7E1-28958F68C423}" dt="2023-07-10T20:19:14.132" v="6538" actId="27636"/>
          <ac:spMkLst>
            <pc:docMk/>
            <pc:sldMk cId="3474700355" sldId="1958"/>
            <ac:spMk id="2" creationId="{A2803681-83BA-14F1-D3BA-1D9F3C619B06}"/>
          </ac:spMkLst>
        </pc:spChg>
        <pc:spChg chg="del mod">
          <ac:chgData name="Nadkarni, Nikhil" userId="8cb4e2ce-db3a-48d0-bf6f-d5eb8967a6f9" providerId="ADAL" clId="{3D8AE9CF-11A6-4709-B7E1-28958F68C423}" dt="2023-07-10T16:06:27.024" v="462" actId="478"/>
          <ac:spMkLst>
            <pc:docMk/>
            <pc:sldMk cId="3474700355" sldId="1958"/>
            <ac:spMk id="3" creationId="{00000000-0000-0000-0000-000000000000}"/>
          </ac:spMkLst>
        </pc:spChg>
        <pc:spChg chg="add mod">
          <ac:chgData name="Nadkarni, Nikhil" userId="8cb4e2ce-db3a-48d0-bf6f-d5eb8967a6f9" providerId="ADAL" clId="{3D8AE9CF-11A6-4709-B7E1-28958F68C423}" dt="2023-07-10T20:21:10.049" v="6667" actId="962"/>
          <ac:spMkLst>
            <pc:docMk/>
            <pc:sldMk cId="3474700355" sldId="1958"/>
            <ac:spMk id="4" creationId="{E3A07C0A-9186-3109-07B2-97E65FF10052}"/>
          </ac:spMkLst>
        </pc:spChg>
        <pc:spChg chg="add del mod">
          <ac:chgData name="Nadkarni, Nikhil" userId="8cb4e2ce-db3a-48d0-bf6f-d5eb8967a6f9" providerId="ADAL" clId="{3D8AE9CF-11A6-4709-B7E1-28958F68C423}" dt="2023-07-10T16:06:28.838" v="464" actId="478"/>
          <ac:spMkLst>
            <pc:docMk/>
            <pc:sldMk cId="3474700355" sldId="1958"/>
            <ac:spMk id="6" creationId="{73F80CEA-DA55-BD22-264D-DA3205B4344E}"/>
          </ac:spMkLst>
        </pc:spChg>
        <pc:spChg chg="mod">
          <ac:chgData name="Nadkarni, Nikhil" userId="8cb4e2ce-db3a-48d0-bf6f-d5eb8967a6f9" providerId="ADAL" clId="{3D8AE9CF-11A6-4709-B7E1-28958F68C423}" dt="2023-07-10T17:49:39.083" v="3051" actId="20577"/>
          <ac:spMkLst>
            <pc:docMk/>
            <pc:sldMk cId="3474700355" sldId="1958"/>
            <ac:spMk id="11" creationId="{CF6A662C-B159-4D4A-B55E-03EE61F7E70F}"/>
          </ac:spMkLst>
        </pc:spChg>
        <pc:spChg chg="add mod">
          <ac:chgData name="Nadkarni, Nikhil" userId="8cb4e2ce-db3a-48d0-bf6f-d5eb8967a6f9" providerId="ADAL" clId="{3D8AE9CF-11A6-4709-B7E1-28958F68C423}" dt="2023-07-10T16:07:33.349" v="556" actId="20577"/>
          <ac:spMkLst>
            <pc:docMk/>
            <pc:sldMk cId="3474700355" sldId="1958"/>
            <ac:spMk id="14" creationId="{9C52EBCC-05CF-19D1-CA36-2D2D0F98314B}"/>
          </ac:spMkLst>
        </pc:spChg>
        <pc:spChg chg="add mod">
          <ac:chgData name="Nadkarni, Nikhil" userId="8cb4e2ce-db3a-48d0-bf6f-d5eb8967a6f9" providerId="ADAL" clId="{3D8AE9CF-11A6-4709-B7E1-28958F68C423}" dt="2023-07-10T17:07:28.865" v="2325" actId="14100"/>
          <ac:spMkLst>
            <pc:docMk/>
            <pc:sldMk cId="3474700355" sldId="1958"/>
            <ac:spMk id="15" creationId="{133C9064-36E8-9E93-C896-7069C24EFB28}"/>
          </ac:spMkLst>
        </pc:spChg>
        <pc:graphicFrameChg chg="mod">
          <ac:chgData name="Nadkarni, Nikhil" userId="8cb4e2ce-db3a-48d0-bf6f-d5eb8967a6f9" providerId="ADAL" clId="{3D8AE9CF-11A6-4709-B7E1-28958F68C423}" dt="2023-07-10T20:22:41.504" v="6960" actId="962"/>
          <ac:graphicFrameMkLst>
            <pc:docMk/>
            <pc:sldMk cId="3474700355" sldId="1958"/>
            <ac:graphicFrameMk id="23" creationId="{6A970923-3EE9-5110-7D67-6F29AF537C54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Nadkarni, Nikhil" userId="8cb4e2ce-db3a-48d0-bf6f-d5eb8967a6f9" providerId="ADAL" clId="{3D8AE9CF-11A6-4709-B7E1-28958F68C423}" dt="2023-07-10T16:07:42.398" v="557"/>
              <pc2:cmMkLst xmlns:pc2="http://schemas.microsoft.com/office/powerpoint/2019/9/main/command">
                <pc:docMk/>
                <pc:sldMk cId="3474700355" sldId="1958"/>
                <pc2:cmMk id="{033F00EE-953C-4860-A001-328382969B86}"/>
              </pc2:cmMkLst>
            </pc226:cmChg>
          </p:ext>
        </pc:extLst>
      </pc:sldChg>
      <pc:sldChg chg="del modCm">
        <pc:chgData name="Nadkarni, Nikhil" userId="8cb4e2ce-db3a-48d0-bf6f-d5eb8967a6f9" providerId="ADAL" clId="{3D8AE9CF-11A6-4709-B7E1-28958F68C423}" dt="2023-07-10T16:08:44.500" v="567" actId="47"/>
        <pc:sldMkLst>
          <pc:docMk/>
          <pc:sldMk cId="2430331712" sldId="1959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Nadkarni, Nikhil" userId="8cb4e2ce-db3a-48d0-bf6f-d5eb8967a6f9" providerId="ADAL" clId="{3D8AE9CF-11A6-4709-B7E1-28958F68C423}" dt="2023-07-07T17:39:58.543" v="11"/>
              <pc2:cmMkLst xmlns:pc2="http://schemas.microsoft.com/office/powerpoint/2019/9/main/command">
                <pc:docMk/>
                <pc:sldMk cId="2430331712" sldId="1959"/>
                <pc2:cmMk id="{B9100A68-20E0-40AE-B9E8-48E7EB1DD9F6}"/>
              </pc2:cmMkLst>
              <pc226:cmRplyChg chg="add">
                <pc226:chgData name="Nadkarni, Nikhil" userId="8cb4e2ce-db3a-48d0-bf6f-d5eb8967a6f9" providerId="ADAL" clId="{3D8AE9CF-11A6-4709-B7E1-28958F68C423}" dt="2023-07-07T17:39:58.543" v="11"/>
                <pc2:cmRplyMkLst xmlns:pc2="http://schemas.microsoft.com/office/powerpoint/2019/9/main/command">
                  <pc:docMk/>
                  <pc:sldMk cId="2430331712" sldId="1959"/>
                  <pc2:cmMk id="{B9100A68-20E0-40AE-B9E8-48E7EB1DD9F6}"/>
                  <pc2:cmRplyMk id="{4CCA2993-AAC2-47EC-AD54-96381F3B689B}"/>
                </pc2:cmRplyMkLst>
              </pc226:cmRplyChg>
            </pc226:cmChg>
          </p:ext>
        </pc:extLst>
      </pc:sldChg>
      <pc:sldChg chg="del">
        <pc:chgData name="Nadkarni, Nikhil" userId="8cb4e2ce-db3a-48d0-bf6f-d5eb8967a6f9" providerId="ADAL" clId="{3D8AE9CF-11A6-4709-B7E1-28958F68C423}" dt="2023-07-10T16:43:10.450" v="974" actId="47"/>
        <pc:sldMkLst>
          <pc:docMk/>
          <pc:sldMk cId="2586051300" sldId="1960"/>
        </pc:sldMkLst>
      </pc:sldChg>
      <pc:sldChg chg="del">
        <pc:chgData name="Nadkarni, Nikhil" userId="8cb4e2ce-db3a-48d0-bf6f-d5eb8967a6f9" providerId="ADAL" clId="{3D8AE9CF-11A6-4709-B7E1-28958F68C423}" dt="2023-07-10T17:01:44.402" v="2109" actId="47"/>
        <pc:sldMkLst>
          <pc:docMk/>
          <pc:sldMk cId="215532766" sldId="1961"/>
        </pc:sldMkLst>
      </pc:sldChg>
      <pc:sldChg chg="addSp delSp modSp mod">
        <pc:chgData name="Nadkarni, Nikhil" userId="8cb4e2ce-db3a-48d0-bf6f-d5eb8967a6f9" providerId="ADAL" clId="{3D8AE9CF-11A6-4709-B7E1-28958F68C423}" dt="2023-07-10T20:21:44.073" v="6734" actId="962"/>
        <pc:sldMkLst>
          <pc:docMk/>
          <pc:sldMk cId="3992210531" sldId="1962"/>
        </pc:sldMkLst>
        <pc:spChg chg="add mod">
          <ac:chgData name="Nadkarni, Nikhil" userId="8cb4e2ce-db3a-48d0-bf6f-d5eb8967a6f9" providerId="ADAL" clId="{3D8AE9CF-11A6-4709-B7E1-28958F68C423}" dt="2023-07-10T20:08:45.745" v="6513"/>
          <ac:spMkLst>
            <pc:docMk/>
            <pc:sldMk cId="3992210531" sldId="1962"/>
            <ac:spMk id="2" creationId="{75D8E2BC-B067-A912-1925-E4F54C1A3555}"/>
          </ac:spMkLst>
        </pc:spChg>
        <pc:spChg chg="del">
          <ac:chgData name="Nadkarni, Nikhil" userId="8cb4e2ce-db3a-48d0-bf6f-d5eb8967a6f9" providerId="ADAL" clId="{3D8AE9CF-11A6-4709-B7E1-28958F68C423}" dt="2023-07-10T17:02:36.848" v="2133" actId="478"/>
          <ac:spMkLst>
            <pc:docMk/>
            <pc:sldMk cId="3992210531" sldId="1962"/>
            <ac:spMk id="2" creationId="{DE36F9E6-0A9D-439D-3475-E572CB064060}"/>
          </ac:spMkLst>
        </pc:spChg>
        <pc:spChg chg="mod">
          <ac:chgData name="Nadkarni, Nikhil" userId="8cb4e2ce-db3a-48d0-bf6f-d5eb8967a6f9" providerId="ADAL" clId="{3D8AE9CF-11A6-4709-B7E1-28958F68C423}" dt="2023-07-10T20:06:39.456" v="6415" actId="20577"/>
          <ac:spMkLst>
            <pc:docMk/>
            <pc:sldMk cId="3992210531" sldId="1962"/>
            <ac:spMk id="3" creationId="{2088BC24-1734-6419-1D44-083DDAA0362A}"/>
          </ac:spMkLst>
        </pc:spChg>
        <pc:spChg chg="del">
          <ac:chgData name="Nadkarni, Nikhil" userId="8cb4e2ce-db3a-48d0-bf6f-d5eb8967a6f9" providerId="ADAL" clId="{3D8AE9CF-11A6-4709-B7E1-28958F68C423}" dt="2023-07-10T20:08:36.865" v="6512" actId="478"/>
          <ac:spMkLst>
            <pc:docMk/>
            <pc:sldMk cId="3992210531" sldId="1962"/>
            <ac:spMk id="4" creationId="{16D4389A-02E6-5DD3-C90C-DA062E6E491E}"/>
          </ac:spMkLst>
        </pc:spChg>
        <pc:spChg chg="add mod">
          <ac:chgData name="Nadkarni, Nikhil" userId="8cb4e2ce-db3a-48d0-bf6f-d5eb8967a6f9" providerId="ADAL" clId="{3D8AE9CF-11A6-4709-B7E1-28958F68C423}" dt="2023-07-10T20:19:20.942" v="6540" actId="33553"/>
          <ac:spMkLst>
            <pc:docMk/>
            <pc:sldMk cId="3992210531" sldId="1962"/>
            <ac:spMk id="5" creationId="{8F196868-1C52-8D91-AF0E-C71A04E48012}"/>
          </ac:spMkLst>
        </pc:spChg>
        <pc:spChg chg="add mod">
          <ac:chgData name="Nadkarni, Nikhil" userId="8cb4e2ce-db3a-48d0-bf6f-d5eb8967a6f9" providerId="ADAL" clId="{3D8AE9CF-11A6-4709-B7E1-28958F68C423}" dt="2023-07-10T20:21:44.073" v="6734" actId="962"/>
          <ac:spMkLst>
            <pc:docMk/>
            <pc:sldMk cId="3992210531" sldId="1962"/>
            <ac:spMk id="6" creationId="{E351053B-92D9-7338-1543-BD80B26AF33E}"/>
          </ac:spMkLst>
        </pc:spChg>
        <pc:spChg chg="add mod">
          <ac:chgData name="Nadkarni, Nikhil" userId="8cb4e2ce-db3a-48d0-bf6f-d5eb8967a6f9" providerId="ADAL" clId="{3D8AE9CF-11A6-4709-B7E1-28958F68C423}" dt="2023-07-10T20:08:45.745" v="6513"/>
          <ac:spMkLst>
            <pc:docMk/>
            <pc:sldMk cId="3992210531" sldId="1962"/>
            <ac:spMk id="7" creationId="{E5C00FE7-1626-A64E-216E-7FC46708F8F1}"/>
          </ac:spMkLst>
        </pc:spChg>
        <pc:spChg chg="add del mod">
          <ac:chgData name="Nadkarni, Nikhil" userId="8cb4e2ce-db3a-48d0-bf6f-d5eb8967a6f9" providerId="ADAL" clId="{3D8AE9CF-11A6-4709-B7E1-28958F68C423}" dt="2023-07-10T17:02:37.740" v="2134" actId="478"/>
          <ac:spMkLst>
            <pc:docMk/>
            <pc:sldMk cId="3992210531" sldId="1962"/>
            <ac:spMk id="8" creationId="{9A1EA81C-46CA-0BFD-0D1E-9D1182B5E9FE}"/>
          </ac:spMkLst>
        </pc:spChg>
      </pc:sldChg>
      <pc:sldChg chg="addSp delSp modSp mod">
        <pc:chgData name="Nadkarni, Nikhil" userId="8cb4e2ce-db3a-48d0-bf6f-d5eb8967a6f9" providerId="ADAL" clId="{3D8AE9CF-11A6-4709-B7E1-28958F68C423}" dt="2023-07-10T20:21:41.810" v="6733" actId="962"/>
        <pc:sldMkLst>
          <pc:docMk/>
          <pc:sldMk cId="4255861837" sldId="1963"/>
        </pc:sldMkLst>
        <pc:spChg chg="add del mod">
          <ac:chgData name="Nadkarni, Nikhil" userId="8cb4e2ce-db3a-48d0-bf6f-d5eb8967a6f9" providerId="ADAL" clId="{3D8AE9CF-11A6-4709-B7E1-28958F68C423}" dt="2023-07-10T20:08:50.917" v="6515"/>
          <ac:spMkLst>
            <pc:docMk/>
            <pc:sldMk cId="4255861837" sldId="1963"/>
            <ac:spMk id="2" creationId="{1D1B36F6-DE8B-2517-76AA-A92108D127A9}"/>
          </ac:spMkLst>
        </pc:spChg>
        <pc:spChg chg="del">
          <ac:chgData name="Nadkarni, Nikhil" userId="8cb4e2ce-db3a-48d0-bf6f-d5eb8967a6f9" providerId="ADAL" clId="{3D8AE9CF-11A6-4709-B7E1-28958F68C423}" dt="2023-07-10T17:03:41.390" v="2239" actId="478"/>
          <ac:spMkLst>
            <pc:docMk/>
            <pc:sldMk cId="4255861837" sldId="1963"/>
            <ac:spMk id="2" creationId="{CC9D4750-C48F-670C-D69A-E66A407DCA40}"/>
          </ac:spMkLst>
        </pc:spChg>
        <pc:spChg chg="del">
          <ac:chgData name="Nadkarni, Nikhil" userId="8cb4e2ce-db3a-48d0-bf6f-d5eb8967a6f9" providerId="ADAL" clId="{3D8AE9CF-11A6-4709-B7E1-28958F68C423}" dt="2023-07-10T17:03:57.227" v="2260" actId="478"/>
          <ac:spMkLst>
            <pc:docMk/>
            <pc:sldMk cId="4255861837" sldId="1963"/>
            <ac:spMk id="3" creationId="{535EB9F3-E9D3-C3C6-A148-B826ED92F3E8}"/>
          </ac:spMkLst>
        </pc:spChg>
        <pc:spChg chg="add del mod">
          <ac:chgData name="Nadkarni, Nikhil" userId="8cb4e2ce-db3a-48d0-bf6f-d5eb8967a6f9" providerId="ADAL" clId="{3D8AE9CF-11A6-4709-B7E1-28958F68C423}" dt="2023-07-10T20:08:50.917" v="6515"/>
          <ac:spMkLst>
            <pc:docMk/>
            <pc:sldMk cId="4255861837" sldId="1963"/>
            <ac:spMk id="3" creationId="{BCF1E7E2-2351-E5F7-7E0C-CD5015EEA89B}"/>
          </ac:spMkLst>
        </pc:spChg>
        <pc:spChg chg="del">
          <ac:chgData name="Nadkarni, Nikhil" userId="8cb4e2ce-db3a-48d0-bf6f-d5eb8967a6f9" providerId="ADAL" clId="{3D8AE9CF-11A6-4709-B7E1-28958F68C423}" dt="2023-07-10T20:08:52.979" v="6516" actId="478"/>
          <ac:spMkLst>
            <pc:docMk/>
            <pc:sldMk cId="4255861837" sldId="1963"/>
            <ac:spMk id="4" creationId="{0C18B52F-3E56-CE58-5C37-11DD0E352E07}"/>
          </ac:spMkLst>
        </pc:spChg>
        <pc:spChg chg="add mod">
          <ac:chgData name="Nadkarni, Nikhil" userId="8cb4e2ce-db3a-48d0-bf6f-d5eb8967a6f9" providerId="ADAL" clId="{3D8AE9CF-11A6-4709-B7E1-28958F68C423}" dt="2023-07-10T20:08:53.716" v="6517"/>
          <ac:spMkLst>
            <pc:docMk/>
            <pc:sldMk cId="4255861837" sldId="1963"/>
            <ac:spMk id="5" creationId="{B8DEC12F-2E52-AC16-EF21-4BB45422D8B6}"/>
          </ac:spMkLst>
        </pc:spChg>
        <pc:spChg chg="add del mod">
          <ac:chgData name="Nadkarni, Nikhil" userId="8cb4e2ce-db3a-48d0-bf6f-d5eb8967a6f9" providerId="ADAL" clId="{3D8AE9CF-11A6-4709-B7E1-28958F68C423}" dt="2023-07-10T17:03:43.884" v="2240" actId="478"/>
          <ac:spMkLst>
            <pc:docMk/>
            <pc:sldMk cId="4255861837" sldId="1963"/>
            <ac:spMk id="6" creationId="{60685B6A-15B6-5DFE-C772-AACE7AAF8FE6}"/>
          </ac:spMkLst>
        </pc:spChg>
        <pc:spChg chg="add mod">
          <ac:chgData name="Nadkarni, Nikhil" userId="8cb4e2ce-db3a-48d0-bf6f-d5eb8967a6f9" providerId="ADAL" clId="{3D8AE9CF-11A6-4709-B7E1-28958F68C423}" dt="2023-07-10T20:08:53.716" v="6517"/>
          <ac:spMkLst>
            <pc:docMk/>
            <pc:sldMk cId="4255861837" sldId="1963"/>
            <ac:spMk id="6" creationId="{BBD967D3-9B49-861D-D44F-CBEE271A4D5A}"/>
          </ac:spMkLst>
        </pc:spChg>
        <pc:spChg chg="add mod">
          <ac:chgData name="Nadkarni, Nikhil" userId="8cb4e2ce-db3a-48d0-bf6f-d5eb8967a6f9" providerId="ADAL" clId="{3D8AE9CF-11A6-4709-B7E1-28958F68C423}" dt="2023-07-10T17:03:48.971" v="2259" actId="20577"/>
          <ac:spMkLst>
            <pc:docMk/>
            <pc:sldMk cId="4255861837" sldId="1963"/>
            <ac:spMk id="7" creationId="{55C3F6FE-508A-07E3-DEBA-1E6F5932979C}"/>
          </ac:spMkLst>
        </pc:spChg>
        <pc:spChg chg="add mod">
          <ac:chgData name="Nadkarni, Nikhil" userId="8cb4e2ce-db3a-48d0-bf6f-d5eb8967a6f9" providerId="ADAL" clId="{3D8AE9CF-11A6-4709-B7E1-28958F68C423}" dt="2023-07-10T20:21:41.810" v="6733" actId="962"/>
          <ac:spMkLst>
            <pc:docMk/>
            <pc:sldMk cId="4255861837" sldId="1963"/>
            <ac:spMk id="8" creationId="{99FCCC70-6E17-33E9-D66D-B6B3B0A563C9}"/>
          </ac:spMkLst>
        </pc:spChg>
      </pc:sldChg>
      <pc:sldChg chg="addSp delSp modSp del mod">
        <pc:chgData name="Nadkarni, Nikhil" userId="8cb4e2ce-db3a-48d0-bf6f-d5eb8967a6f9" providerId="ADAL" clId="{3D8AE9CF-11A6-4709-B7E1-28958F68C423}" dt="2023-07-10T20:05:07.954" v="6376" actId="47"/>
        <pc:sldMkLst>
          <pc:docMk/>
          <pc:sldMk cId="4145500570" sldId="1964"/>
        </pc:sldMkLst>
        <pc:spChg chg="add mod">
          <ac:chgData name="Nadkarni, Nikhil" userId="8cb4e2ce-db3a-48d0-bf6f-d5eb8967a6f9" providerId="ADAL" clId="{3D8AE9CF-11A6-4709-B7E1-28958F68C423}" dt="2023-07-10T20:05:03.854" v="6374" actId="21"/>
          <ac:spMkLst>
            <pc:docMk/>
            <pc:sldMk cId="4145500570" sldId="1964"/>
            <ac:spMk id="4" creationId="{0A471AA2-DB3A-8CEF-A884-317A80C6E339}"/>
          </ac:spMkLst>
        </pc:spChg>
        <pc:spChg chg="del">
          <ac:chgData name="Nadkarni, Nikhil" userId="8cb4e2ce-db3a-48d0-bf6f-d5eb8967a6f9" providerId="ADAL" clId="{3D8AE9CF-11A6-4709-B7E1-28958F68C423}" dt="2023-07-10T20:05:03.854" v="6374" actId="21"/>
          <ac:spMkLst>
            <pc:docMk/>
            <pc:sldMk cId="4145500570" sldId="1964"/>
            <ac:spMk id="9" creationId="{00000000-0000-0000-0000-000000000000}"/>
          </ac:spMkLst>
        </pc:spChg>
        <pc:spChg chg="del">
          <ac:chgData name="Nadkarni, Nikhil" userId="8cb4e2ce-db3a-48d0-bf6f-d5eb8967a6f9" providerId="ADAL" clId="{3D8AE9CF-11A6-4709-B7E1-28958F68C423}" dt="2023-07-10T20:05:03.854" v="6374" actId="21"/>
          <ac:spMkLst>
            <pc:docMk/>
            <pc:sldMk cId="4145500570" sldId="1964"/>
            <ac:spMk id="10" creationId="{00000000-0000-0000-0000-000000000000}"/>
          </ac:spMkLst>
        </pc:spChg>
        <pc:spChg chg="del">
          <ac:chgData name="Nadkarni, Nikhil" userId="8cb4e2ce-db3a-48d0-bf6f-d5eb8967a6f9" providerId="ADAL" clId="{3D8AE9CF-11A6-4709-B7E1-28958F68C423}" dt="2023-07-10T20:05:03.854" v="6374" actId="21"/>
          <ac:spMkLst>
            <pc:docMk/>
            <pc:sldMk cId="4145500570" sldId="1964"/>
            <ac:spMk id="13" creationId="{00000000-0000-0000-0000-000000000000}"/>
          </ac:spMkLst>
        </pc:spChg>
        <pc:graphicFrameChg chg="del">
          <ac:chgData name="Nadkarni, Nikhil" userId="8cb4e2ce-db3a-48d0-bf6f-d5eb8967a6f9" providerId="ADAL" clId="{3D8AE9CF-11A6-4709-B7E1-28958F68C423}" dt="2023-07-10T20:05:03.854" v="6374" actId="21"/>
          <ac:graphicFrameMkLst>
            <pc:docMk/>
            <pc:sldMk cId="4145500570" sldId="1964"/>
            <ac:graphicFrameMk id="23" creationId="{6A970923-3EE9-5110-7D67-6F29AF537C54}"/>
          </ac:graphicFrameMkLst>
        </pc:graphicFrameChg>
        <pc:picChg chg="del">
          <ac:chgData name="Nadkarni, Nikhil" userId="8cb4e2ce-db3a-48d0-bf6f-d5eb8967a6f9" providerId="ADAL" clId="{3D8AE9CF-11A6-4709-B7E1-28958F68C423}" dt="2023-07-10T20:05:03.854" v="6374" actId="21"/>
          <ac:picMkLst>
            <pc:docMk/>
            <pc:sldMk cId="4145500570" sldId="1964"/>
            <ac:picMk id="12" creationId="{A7E6D13E-3F18-D30A-8248-80383CD52044}"/>
          </ac:picMkLst>
        </pc:picChg>
      </pc:sldChg>
      <pc:sldChg chg="del">
        <pc:chgData name="Nadkarni, Nikhil" userId="8cb4e2ce-db3a-48d0-bf6f-d5eb8967a6f9" providerId="ADAL" clId="{3D8AE9CF-11A6-4709-B7E1-28958F68C423}" dt="2023-07-10T16:28:59.338" v="903" actId="47"/>
        <pc:sldMkLst>
          <pc:docMk/>
          <pc:sldMk cId="738356794" sldId="1965"/>
        </pc:sldMkLst>
      </pc:sldChg>
      <pc:sldChg chg="modSp add mod">
        <pc:chgData name="Nadkarni, Nikhil" userId="8cb4e2ce-db3a-48d0-bf6f-d5eb8967a6f9" providerId="ADAL" clId="{3D8AE9CF-11A6-4709-B7E1-28958F68C423}" dt="2023-07-10T20:21:13.259" v="6669" actId="962"/>
        <pc:sldMkLst>
          <pc:docMk/>
          <pc:sldMk cId="1192723466" sldId="1966"/>
        </pc:sldMkLst>
        <pc:spChg chg="mod">
          <ac:chgData name="Nadkarni, Nikhil" userId="8cb4e2ce-db3a-48d0-bf6f-d5eb8967a6f9" providerId="ADAL" clId="{3D8AE9CF-11A6-4709-B7E1-28958F68C423}" dt="2023-07-10T17:09:55.836" v="2335" actId="5793"/>
          <ac:spMkLst>
            <pc:docMk/>
            <pc:sldMk cId="1192723466" sldId="1966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1:13.259" v="6669" actId="962"/>
          <ac:spMkLst>
            <pc:docMk/>
            <pc:sldMk cId="1192723466" sldId="1966"/>
            <ac:spMk id="6" creationId="{0038D609-7001-4947-92BB-A379E0414168}"/>
          </ac:spMkLst>
        </pc:spChg>
      </pc:sldChg>
      <pc:sldChg chg="modSp add mod">
        <pc:chgData name="Nadkarni, Nikhil" userId="8cb4e2ce-db3a-48d0-bf6f-d5eb8967a6f9" providerId="ADAL" clId="{3D8AE9CF-11A6-4709-B7E1-28958F68C423}" dt="2023-07-10T20:22:07.378" v="6745" actId="962"/>
        <pc:sldMkLst>
          <pc:docMk/>
          <pc:sldMk cId="3267574285" sldId="1967"/>
        </pc:sldMkLst>
        <pc:spChg chg="mod">
          <ac:chgData name="Nadkarni, Nikhil" userId="8cb4e2ce-db3a-48d0-bf6f-d5eb8967a6f9" providerId="ADAL" clId="{3D8AE9CF-11A6-4709-B7E1-28958F68C423}" dt="2023-07-10T19:26:46.552" v="4139" actId="5793"/>
          <ac:spMkLst>
            <pc:docMk/>
            <pc:sldMk cId="3267574285" sldId="1967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07.378" v="6745" actId="962"/>
          <ac:spMkLst>
            <pc:docMk/>
            <pc:sldMk cId="3267574285" sldId="1967"/>
            <ac:spMk id="6" creationId="{0038D609-7001-4947-92BB-A379E0414168}"/>
          </ac:spMkLst>
        </pc:spChg>
      </pc:sldChg>
      <pc:sldChg chg="modSp add mod">
        <pc:chgData name="Nadkarni, Nikhil" userId="8cb4e2ce-db3a-48d0-bf6f-d5eb8967a6f9" providerId="ADAL" clId="{3D8AE9CF-11A6-4709-B7E1-28958F68C423}" dt="2023-07-10T20:21:52.641" v="6737" actId="962"/>
        <pc:sldMkLst>
          <pc:docMk/>
          <pc:sldMk cId="2854237404" sldId="1968"/>
        </pc:sldMkLst>
        <pc:spChg chg="mod">
          <ac:chgData name="Nadkarni, Nikhil" userId="8cb4e2ce-db3a-48d0-bf6f-d5eb8967a6f9" providerId="ADAL" clId="{3D8AE9CF-11A6-4709-B7E1-28958F68C423}" dt="2023-07-10T19:27:07.766" v="4152" actId="5793"/>
          <ac:spMkLst>
            <pc:docMk/>
            <pc:sldMk cId="2854237404" sldId="1968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1:52.641" v="6737" actId="962"/>
          <ac:spMkLst>
            <pc:docMk/>
            <pc:sldMk cId="2854237404" sldId="1968"/>
            <ac:spMk id="6" creationId="{0038D609-7001-4947-92BB-A379E0414168}"/>
          </ac:spMkLst>
        </pc:spChg>
      </pc:sldChg>
      <pc:sldChg chg="addSp delSp modSp add mod">
        <pc:chgData name="Nadkarni, Nikhil" userId="8cb4e2ce-db3a-48d0-bf6f-d5eb8967a6f9" providerId="ADAL" clId="{3D8AE9CF-11A6-4709-B7E1-28958F68C423}" dt="2023-07-10T20:22:50.415" v="7006" actId="962"/>
        <pc:sldMkLst>
          <pc:docMk/>
          <pc:sldMk cId="1389041451" sldId="1969"/>
        </pc:sldMkLst>
        <pc:spChg chg="mod">
          <ac:chgData name="Nadkarni, Nikhil" userId="8cb4e2ce-db3a-48d0-bf6f-d5eb8967a6f9" providerId="ADAL" clId="{3D8AE9CF-11A6-4709-B7E1-28958F68C423}" dt="2023-07-10T16:26:26.329" v="644" actId="1076"/>
          <ac:spMkLst>
            <pc:docMk/>
            <pc:sldMk cId="1389041451" sldId="1969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21:14.971" v="6670" actId="962"/>
          <ac:spMkLst>
            <pc:docMk/>
            <pc:sldMk cId="1389041451" sldId="1969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6:29:48.076" v="919" actId="5793"/>
          <ac:spMkLst>
            <pc:docMk/>
            <pc:sldMk cId="1389041451" sldId="1969"/>
            <ac:spMk id="11" creationId="{80375151-8B20-3D8C-FEBF-EF4330089FFA}"/>
          </ac:spMkLst>
        </pc:spChg>
        <pc:picChg chg="add mod">
          <ac:chgData name="Nadkarni, Nikhil" userId="8cb4e2ce-db3a-48d0-bf6f-d5eb8967a6f9" providerId="ADAL" clId="{3D8AE9CF-11A6-4709-B7E1-28958F68C423}" dt="2023-07-10T20:22:50.415" v="7006" actId="962"/>
          <ac:picMkLst>
            <pc:docMk/>
            <pc:sldMk cId="1389041451" sldId="1969"/>
            <ac:picMk id="4" creationId="{82CC64F2-5936-D499-C8C7-9411BB4F9974}"/>
          </ac:picMkLst>
        </pc:picChg>
        <pc:picChg chg="del">
          <ac:chgData name="Nadkarni, Nikhil" userId="8cb4e2ce-db3a-48d0-bf6f-d5eb8967a6f9" providerId="ADAL" clId="{3D8AE9CF-11A6-4709-B7E1-28958F68C423}" dt="2023-07-10T16:26:28.540" v="645" actId="478"/>
          <ac:picMkLst>
            <pc:docMk/>
            <pc:sldMk cId="1389041451" sldId="1969"/>
            <ac:picMk id="7" creationId="{5DB52DC8-48BD-AB73-3C85-3BDA5B7DF1DB}"/>
          </ac:picMkLst>
        </pc:picChg>
      </pc:sldChg>
      <pc:sldChg chg="modSp add mod">
        <pc:chgData name="Nadkarni, Nikhil" userId="8cb4e2ce-db3a-48d0-bf6f-d5eb8967a6f9" providerId="ADAL" clId="{3D8AE9CF-11A6-4709-B7E1-28958F68C423}" dt="2023-07-10T20:21:58.561" v="6741" actId="962"/>
        <pc:sldMkLst>
          <pc:docMk/>
          <pc:sldMk cId="243584219" sldId="1970"/>
        </pc:sldMkLst>
        <pc:spChg chg="mod">
          <ac:chgData name="Nadkarni, Nikhil" userId="8cb4e2ce-db3a-48d0-bf6f-d5eb8967a6f9" providerId="ADAL" clId="{3D8AE9CF-11A6-4709-B7E1-28958F68C423}" dt="2023-07-10T19:32:58.917" v="4391" actId="5793"/>
          <ac:spMkLst>
            <pc:docMk/>
            <pc:sldMk cId="243584219" sldId="1970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1:58.561" v="6741" actId="962"/>
          <ac:spMkLst>
            <pc:docMk/>
            <pc:sldMk cId="243584219" sldId="1970"/>
            <ac:spMk id="6" creationId="{0038D609-7001-4947-92BB-A379E0414168}"/>
          </ac:spMkLst>
        </pc:spChg>
      </pc:sldChg>
      <pc:sldChg chg="modSp add mod delCm">
        <pc:chgData name="Nadkarni, Nikhil" userId="8cb4e2ce-db3a-48d0-bf6f-d5eb8967a6f9" providerId="ADAL" clId="{3D8AE9CF-11A6-4709-B7E1-28958F68C423}" dt="2023-07-10T20:21:47.392" v="6735" actId="962"/>
        <pc:sldMkLst>
          <pc:docMk/>
          <pc:sldMk cId="472625034" sldId="1971"/>
        </pc:sldMkLst>
        <pc:spChg chg="mod">
          <ac:chgData name="Nadkarni, Nikhil" userId="8cb4e2ce-db3a-48d0-bf6f-d5eb8967a6f9" providerId="ADAL" clId="{3D8AE9CF-11A6-4709-B7E1-28958F68C423}" dt="2023-07-10T20:07:29.151" v="6495" actId="20577"/>
          <ac:spMkLst>
            <pc:docMk/>
            <pc:sldMk cId="472625034" sldId="1971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1:47.392" v="6735" actId="962"/>
          <ac:spMkLst>
            <pc:docMk/>
            <pc:sldMk cId="472625034" sldId="1971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20:08:27.951" v="6507" actId="20577"/>
          <ac:spMkLst>
            <pc:docMk/>
            <pc:sldMk cId="472625034" sldId="1971"/>
            <ac:spMk id="9" creationId="{BADF41E3-B302-4C05-B004-242B35D59BF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Nadkarni, Nikhil" userId="8cb4e2ce-db3a-48d0-bf6f-d5eb8967a6f9" providerId="ADAL" clId="{3D8AE9CF-11A6-4709-B7E1-28958F68C423}" dt="2023-07-10T16:44:03.359" v="977"/>
              <pc2:cmMkLst xmlns:pc2="http://schemas.microsoft.com/office/powerpoint/2019/9/main/command">
                <pc:docMk/>
                <pc:sldMk cId="472625034" sldId="1971"/>
                <pc2:cmMk id="{BDBB79D5-D3B7-4BC5-A919-FB18355E7910}"/>
              </pc2:cmMkLst>
            </pc226:cmChg>
          </p:ext>
        </pc:extLst>
      </pc:sldChg>
      <pc:sldChg chg="addSp delSp modSp add mod">
        <pc:chgData name="Nadkarni, Nikhil" userId="8cb4e2ce-db3a-48d0-bf6f-d5eb8967a6f9" providerId="ADAL" clId="{3D8AE9CF-11A6-4709-B7E1-28958F68C423}" dt="2023-07-10T20:25:42.132" v="7950" actId="962"/>
        <pc:sldMkLst>
          <pc:docMk/>
          <pc:sldMk cId="175234593" sldId="1972"/>
        </pc:sldMkLst>
        <pc:spChg chg="mod">
          <ac:chgData name="Nadkarni, Nikhil" userId="8cb4e2ce-db3a-48d0-bf6f-d5eb8967a6f9" providerId="ADAL" clId="{3D8AE9CF-11A6-4709-B7E1-28958F68C423}" dt="2023-07-10T17:01:39.533" v="2106" actId="20577"/>
          <ac:spMkLst>
            <pc:docMk/>
            <pc:sldMk cId="175234593" sldId="1972"/>
            <ac:spMk id="2" creationId="{71ECDFDF-B56B-4C43-BBBF-D35CEE5E475F}"/>
          </ac:spMkLst>
        </pc:spChg>
        <pc:spChg chg="del mod">
          <ac:chgData name="Nadkarni, Nikhil" userId="8cb4e2ce-db3a-48d0-bf6f-d5eb8967a6f9" providerId="ADAL" clId="{3D8AE9CF-11A6-4709-B7E1-28958F68C423}" dt="2023-07-10T17:01:43.150" v="2108" actId="478"/>
          <ac:spMkLst>
            <pc:docMk/>
            <pc:sldMk cId="175234593" sldId="1972"/>
            <ac:spMk id="3" creationId="{06AC962A-FABE-4F14-91E7-A91AD417ADFF}"/>
          </ac:spMkLst>
        </pc:spChg>
        <pc:spChg chg="add mod">
          <ac:chgData name="Nadkarni, Nikhil" userId="8cb4e2ce-db3a-48d0-bf6f-d5eb8967a6f9" providerId="ADAL" clId="{3D8AE9CF-11A6-4709-B7E1-28958F68C423}" dt="2023-07-10T20:05:05.817" v="6375"/>
          <ac:spMkLst>
            <pc:docMk/>
            <pc:sldMk cId="175234593" sldId="1972"/>
            <ac:spMk id="4" creationId="{8F6A06A7-FFFD-A2F5-F721-592EDB8AAA09}"/>
          </ac:spMkLst>
        </pc:spChg>
        <pc:spChg chg="mod">
          <ac:chgData name="Nadkarni, Nikhil" userId="8cb4e2ce-db3a-48d0-bf6f-d5eb8967a6f9" providerId="ADAL" clId="{3D8AE9CF-11A6-4709-B7E1-28958F68C423}" dt="2023-07-10T20:22:04.697" v="6744" actId="962"/>
          <ac:spMkLst>
            <pc:docMk/>
            <pc:sldMk cId="175234593" sldId="1972"/>
            <ac:spMk id="6" creationId="{0038D609-7001-4947-92BB-A379E0414168}"/>
          </ac:spMkLst>
        </pc:spChg>
        <pc:spChg chg="add mod">
          <ac:chgData name="Nadkarni, Nikhil" userId="8cb4e2ce-db3a-48d0-bf6f-d5eb8967a6f9" providerId="ADAL" clId="{3D8AE9CF-11A6-4709-B7E1-28958F68C423}" dt="2023-07-10T20:05:05.817" v="6375"/>
          <ac:spMkLst>
            <pc:docMk/>
            <pc:sldMk cId="175234593" sldId="1972"/>
            <ac:spMk id="7" creationId="{ACB251AD-130B-1E9A-527E-F944D052EF3D}"/>
          </ac:spMkLst>
        </pc:spChg>
        <pc:spChg chg="mod">
          <ac:chgData name="Nadkarni, Nikhil" userId="8cb4e2ce-db3a-48d0-bf6f-d5eb8967a6f9" providerId="ADAL" clId="{3D8AE9CF-11A6-4709-B7E1-28958F68C423}" dt="2023-07-10T20:08:31.680" v="6511" actId="20577"/>
          <ac:spMkLst>
            <pc:docMk/>
            <pc:sldMk cId="175234593" sldId="1972"/>
            <ac:spMk id="9" creationId="{BADF41E3-B302-4C05-B004-242B35D59BFB}"/>
          </ac:spMkLst>
        </pc:spChg>
        <pc:spChg chg="add mod">
          <ac:chgData name="Nadkarni, Nikhil" userId="8cb4e2ce-db3a-48d0-bf6f-d5eb8967a6f9" providerId="ADAL" clId="{3D8AE9CF-11A6-4709-B7E1-28958F68C423}" dt="2023-07-10T20:05:05.817" v="6375"/>
          <ac:spMkLst>
            <pc:docMk/>
            <pc:sldMk cId="175234593" sldId="1972"/>
            <ac:spMk id="10" creationId="{D141A10D-5B03-7E89-B4DE-3B8BE28B7D19}"/>
          </ac:spMkLst>
        </pc:spChg>
        <pc:graphicFrameChg chg="add mod">
          <ac:chgData name="Nadkarni, Nikhil" userId="8cb4e2ce-db3a-48d0-bf6f-d5eb8967a6f9" providerId="ADAL" clId="{3D8AE9CF-11A6-4709-B7E1-28958F68C423}" dt="2023-07-10T20:25:42.132" v="7950" actId="962"/>
          <ac:graphicFrameMkLst>
            <pc:docMk/>
            <pc:sldMk cId="175234593" sldId="1972"/>
            <ac:graphicFrameMk id="3" creationId="{B21E3827-1DB0-0D3E-8DCC-20E920E4B217}"/>
          </ac:graphicFrameMkLst>
        </pc:graphicFrameChg>
        <pc:picChg chg="add mod">
          <ac:chgData name="Nadkarni, Nikhil" userId="8cb4e2ce-db3a-48d0-bf6f-d5eb8967a6f9" providerId="ADAL" clId="{3D8AE9CF-11A6-4709-B7E1-28958F68C423}" dt="2023-07-10T20:05:05.817" v="6375"/>
          <ac:picMkLst>
            <pc:docMk/>
            <pc:sldMk cId="175234593" sldId="1972"/>
            <ac:picMk id="5" creationId="{34E7080A-BF57-D511-AB85-451D6AB36BD3}"/>
          </ac:picMkLst>
        </pc:picChg>
      </pc:sldChg>
      <pc:sldChg chg="addSp modSp add mod">
        <pc:chgData name="Nadkarni, Nikhil" userId="8cb4e2ce-db3a-48d0-bf6f-d5eb8967a6f9" providerId="ADAL" clId="{3D8AE9CF-11A6-4709-B7E1-28958F68C423}" dt="2023-07-10T20:23:27.103" v="7238" actId="962"/>
        <pc:sldMkLst>
          <pc:docMk/>
          <pc:sldMk cId="2953531974" sldId="1973"/>
        </pc:sldMkLst>
        <pc:spChg chg="add mod">
          <ac:chgData name="Nadkarni, Nikhil" userId="8cb4e2ce-db3a-48d0-bf6f-d5eb8967a6f9" providerId="ADAL" clId="{3D8AE9CF-11A6-4709-B7E1-28958F68C423}" dt="2023-07-10T20:21:34.769" v="6732" actId="962"/>
          <ac:spMkLst>
            <pc:docMk/>
            <pc:sldMk cId="2953531974" sldId="1973"/>
            <ac:spMk id="3" creationId="{226BD9C4-BF15-34A4-D236-D02E4550FE5C}"/>
          </ac:spMkLst>
        </pc:spChg>
        <pc:spChg chg="add mod">
          <ac:chgData name="Nadkarni, Nikhil" userId="8cb4e2ce-db3a-48d0-bf6f-d5eb8967a6f9" providerId="ADAL" clId="{3D8AE9CF-11A6-4709-B7E1-28958F68C423}" dt="2023-07-10T17:54:48.851" v="3217"/>
          <ac:spMkLst>
            <pc:docMk/>
            <pc:sldMk cId="2953531974" sldId="1973"/>
            <ac:spMk id="4" creationId="{B30C229C-2B06-2587-56A4-5343598C7417}"/>
          </ac:spMkLst>
        </pc:spChg>
        <pc:spChg chg="mod">
          <ac:chgData name="Nadkarni, Nikhil" userId="8cb4e2ce-db3a-48d0-bf6f-d5eb8967a6f9" providerId="ADAL" clId="{3D8AE9CF-11A6-4709-B7E1-28958F68C423}" dt="2023-07-10T20:21:24.737" v="6674" actId="962"/>
          <ac:spMkLst>
            <pc:docMk/>
            <pc:sldMk cId="2953531974" sldId="1973"/>
            <ac:spMk id="6" creationId="{0038D609-7001-4947-92BB-A379E0414168}"/>
          </ac:spMkLst>
        </pc:spChg>
        <pc:picChg chg="mod">
          <ac:chgData name="Nadkarni, Nikhil" userId="8cb4e2ce-db3a-48d0-bf6f-d5eb8967a6f9" providerId="ADAL" clId="{3D8AE9CF-11A6-4709-B7E1-28958F68C423}" dt="2023-07-10T20:23:27.103" v="7238" actId="962"/>
          <ac:picMkLst>
            <pc:docMk/>
            <pc:sldMk cId="2953531974" sldId="1973"/>
            <ac:picMk id="50" creationId="{A1F8D0D6-16E7-918C-6278-B9522CE6D9E9}"/>
          </ac:picMkLst>
        </pc:picChg>
      </pc:sldChg>
      <pc:sldChg chg="addSp delSp modSp add mod">
        <pc:chgData name="Nadkarni, Nikhil" userId="8cb4e2ce-db3a-48d0-bf6f-d5eb8967a6f9" providerId="ADAL" clId="{3D8AE9CF-11A6-4709-B7E1-28958F68C423}" dt="2023-07-10T20:24:52.607" v="7688" actId="962"/>
        <pc:sldMkLst>
          <pc:docMk/>
          <pc:sldMk cId="1745514758" sldId="1974"/>
        </pc:sldMkLst>
        <pc:spChg chg="mod">
          <ac:chgData name="Nadkarni, Nikhil" userId="8cb4e2ce-db3a-48d0-bf6f-d5eb8967a6f9" providerId="ADAL" clId="{3D8AE9CF-11A6-4709-B7E1-28958F68C423}" dt="2023-07-10T19:19:17.656" v="3829" actId="20577"/>
          <ac:spMkLst>
            <pc:docMk/>
            <pc:sldMk cId="1745514758" sldId="1974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19:21:11.827" v="4039" actId="20577"/>
          <ac:spMkLst>
            <pc:docMk/>
            <pc:sldMk cId="1745514758" sldId="1974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12.433" v="6748" actId="962"/>
          <ac:spMkLst>
            <pc:docMk/>
            <pc:sldMk cId="1745514758" sldId="1974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9:21:25.942" v="4043" actId="20577"/>
          <ac:spMkLst>
            <pc:docMk/>
            <pc:sldMk cId="1745514758" sldId="1974"/>
            <ac:spMk id="9" creationId="{BADF41E3-B302-4C05-B004-242B35D59BFB}"/>
          </ac:spMkLst>
        </pc:spChg>
        <pc:picChg chg="add mod">
          <ac:chgData name="Nadkarni, Nikhil" userId="8cb4e2ce-db3a-48d0-bf6f-d5eb8967a6f9" providerId="ADAL" clId="{3D8AE9CF-11A6-4709-B7E1-28958F68C423}" dt="2023-07-10T20:24:36.450" v="7566" actId="962"/>
          <ac:picMkLst>
            <pc:docMk/>
            <pc:sldMk cId="1745514758" sldId="1974"/>
            <ac:picMk id="4" creationId="{C61A5505-5E8C-9D22-F113-0E5BDDA7B5C7}"/>
          </ac:picMkLst>
        </pc:picChg>
        <pc:picChg chg="del">
          <ac:chgData name="Nadkarni, Nikhil" userId="8cb4e2ce-db3a-48d0-bf6f-d5eb8967a6f9" providerId="ADAL" clId="{3D8AE9CF-11A6-4709-B7E1-28958F68C423}" dt="2023-07-10T19:14:02.724" v="3672" actId="21"/>
          <ac:picMkLst>
            <pc:docMk/>
            <pc:sldMk cId="1745514758" sldId="1974"/>
            <ac:picMk id="5" creationId="{5BA58F11-F945-3CA1-B968-9BC0A0E02431}"/>
          </ac:picMkLst>
        </pc:picChg>
        <pc:picChg chg="add mod">
          <ac:chgData name="Nadkarni, Nikhil" userId="8cb4e2ce-db3a-48d0-bf6f-d5eb8967a6f9" providerId="ADAL" clId="{3D8AE9CF-11A6-4709-B7E1-28958F68C423}" dt="2023-07-10T20:24:52.607" v="7688" actId="962"/>
          <ac:picMkLst>
            <pc:docMk/>
            <pc:sldMk cId="1745514758" sldId="1974"/>
            <ac:picMk id="7" creationId="{F80A9202-A2C5-9E92-EBB6-2C4A9CFED7CC}"/>
          </ac:picMkLst>
        </pc:picChg>
        <pc:picChg chg="del">
          <ac:chgData name="Nadkarni, Nikhil" userId="8cb4e2ce-db3a-48d0-bf6f-d5eb8967a6f9" providerId="ADAL" clId="{3D8AE9CF-11A6-4709-B7E1-28958F68C423}" dt="2023-07-10T19:14:02.724" v="3672" actId="21"/>
          <ac:picMkLst>
            <pc:docMk/>
            <pc:sldMk cId="1745514758" sldId="1974"/>
            <ac:picMk id="10" creationId="{7DE6C690-F5FC-D904-1697-C4789E2EBE23}"/>
          </ac:picMkLst>
        </pc:picChg>
        <pc:picChg chg="del">
          <ac:chgData name="Nadkarni, Nikhil" userId="8cb4e2ce-db3a-48d0-bf6f-d5eb8967a6f9" providerId="ADAL" clId="{3D8AE9CF-11A6-4709-B7E1-28958F68C423}" dt="2023-07-10T19:14:02.724" v="3672" actId="21"/>
          <ac:picMkLst>
            <pc:docMk/>
            <pc:sldMk cId="1745514758" sldId="1974"/>
            <ac:picMk id="16" creationId="{91F5EBE7-E239-A197-1C89-9368475D70B7}"/>
          </ac:picMkLst>
        </pc:picChg>
      </pc:sldChg>
      <pc:sldChg chg="modSp add mod">
        <pc:chgData name="Nadkarni, Nikhil" userId="8cb4e2ce-db3a-48d0-bf6f-d5eb8967a6f9" providerId="ADAL" clId="{3D8AE9CF-11A6-4709-B7E1-28958F68C423}" dt="2023-07-10T20:25:28.433" v="7864" actId="962"/>
        <pc:sldMkLst>
          <pc:docMk/>
          <pc:sldMk cId="2184168918" sldId="1975"/>
        </pc:sldMkLst>
        <pc:spChg chg="mod">
          <ac:chgData name="Nadkarni, Nikhil" userId="8cb4e2ce-db3a-48d0-bf6f-d5eb8967a6f9" providerId="ADAL" clId="{3D8AE9CF-11A6-4709-B7E1-28958F68C423}" dt="2023-07-10T19:34:44.422" v="4436" actId="20577"/>
          <ac:spMkLst>
            <pc:docMk/>
            <pc:sldMk cId="2184168918" sldId="1975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19:58:34.031" v="5633" actId="20577"/>
          <ac:spMkLst>
            <pc:docMk/>
            <pc:sldMk cId="2184168918" sldId="1975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5:28.433" v="7864" actId="962"/>
          <ac:spMkLst>
            <pc:docMk/>
            <pc:sldMk cId="2184168918" sldId="1975"/>
            <ac:spMk id="6" creationId="{0038D609-7001-4947-92BB-A379E0414168}"/>
          </ac:spMkLst>
        </pc:spChg>
      </pc:sldChg>
      <pc:sldChg chg="modSp add mod">
        <pc:chgData name="Nadkarni, Nikhil" userId="8cb4e2ce-db3a-48d0-bf6f-d5eb8967a6f9" providerId="ADAL" clId="{3D8AE9CF-11A6-4709-B7E1-28958F68C423}" dt="2023-07-10T20:25:31.585" v="7866" actId="962"/>
        <pc:sldMkLst>
          <pc:docMk/>
          <pc:sldMk cId="1562900042" sldId="1976"/>
        </pc:sldMkLst>
        <pc:spChg chg="mod">
          <ac:chgData name="Nadkarni, Nikhil" userId="8cb4e2ce-db3a-48d0-bf6f-d5eb8967a6f9" providerId="ADAL" clId="{3D8AE9CF-11A6-4709-B7E1-28958F68C423}" dt="2023-07-10T20:01:36.688" v="5875" actId="20577"/>
          <ac:spMkLst>
            <pc:docMk/>
            <pc:sldMk cId="1562900042" sldId="1976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06:53.012" v="6417"/>
          <ac:spMkLst>
            <pc:docMk/>
            <pc:sldMk cId="1562900042" sldId="1976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5:31.585" v="7866" actId="962"/>
          <ac:spMkLst>
            <pc:docMk/>
            <pc:sldMk cId="1562900042" sldId="1976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20:08:23.567" v="6503" actId="20577"/>
          <ac:spMkLst>
            <pc:docMk/>
            <pc:sldMk cId="1562900042" sldId="1976"/>
            <ac:spMk id="9" creationId="{BADF41E3-B302-4C05-B004-242B35D59BF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0581903904676437E-2"/>
          <c:y val="2.253032848238945E-2"/>
          <c:w val="0.87843763828277588"/>
          <c:h val="0.95493936538696289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<c:ext xmlns:c16="http://schemas.microsoft.com/office/drawing/2014/chart" uri="{C3380CC4-5D6E-409C-BE32-E72D297353CC}">
                <c16:uniqueId val="{00000001-737C-467A-95ED-B72AD17F996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<c:ext xmlns:c16="http://schemas.microsoft.com/office/drawing/2014/chart" uri="{C3380CC4-5D6E-409C-BE32-E72D297353CC}">
                <c16:uniqueId val="{00000003-737C-467A-95ED-B72AD17F996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<c:ext xmlns:c16="http://schemas.microsoft.com/office/drawing/2014/chart" uri="{C3380CC4-5D6E-409C-BE32-E72D297353CC}">
                <c16:uniqueId val="{00000005-737C-467A-95ED-B72AD17F996E}"/>
              </c:ext>
            </c:extLst>
          </c:dPt>
          <c:dLbls>
            <c:dLbl>
              <c:idx val="0"/>
              <c:layout>
                <c:manualLayout>
                  <c:x val="-0.19765365123748779"/>
                  <c:y val="-9.402584284543991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800" kern="1200" smtId="4294967295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37C-467A-95ED-B72AD17F996E}"/>
                </c:ext>
              </c:extLst>
            </c:dLbl>
            <c:dLbl>
              <c:idx val="1"/>
              <c:layout>
                <c:manualLayout>
                  <c:x val="-8.7684333324432373E-2"/>
                  <c:y val="-0.1039861366152763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800" kern="1200" smtId="4294967295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37C-467A-95ED-B72AD17F996E}"/>
                </c:ext>
              </c:extLst>
            </c:dLbl>
            <c:dLbl>
              <c:idx val="2"/>
              <c:layout>
                <c:manualLayout>
                  <c:x val="-3.3878039568662643E-2"/>
                  <c:y val="-0.16767764091491699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800" kern="1200" smtId="4294967295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37C-467A-95ED-B72AD17F996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</c:numCache>
            </c:numRef>
          </c:val>
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<c:ext xmlns:c16="http://schemas.microsoft.com/office/drawing/2014/chart" uri="{C3380CC4-5D6E-409C-BE32-E72D297353CC}">
              <c16:uniqueId val="{00000006-737C-467A-95ED-B72AD17F99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0581905141490637E-2"/>
          <c:y val="2.2530329289428077E-2"/>
          <c:w val="0.87843762455161423"/>
          <c:h val="0.95493934142114389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2D2-442B-8A32-6F24051354A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2D2-442B-8A32-6F24051354A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A2D2-442B-8A32-6F24051354AE}"/>
              </c:ext>
            </c:extLst>
          </c:dPt>
          <c:dLbls>
            <c:dLbl>
              <c:idx val="0"/>
              <c:layout>
                <c:manualLayout>
                  <c:x val="-0.19765365030411461"/>
                  <c:y val="-9.4025846422576859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8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2D2-442B-8A32-6F24051354AE}"/>
                </c:ext>
              </c:extLst>
            </c:dLbl>
            <c:dLbl>
              <c:idx val="1"/>
              <c:layout>
                <c:manualLayout>
                  <c:x val="-8.7684336388999598E-2"/>
                  <c:y val="-0.1039861351819757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2D2-442B-8A32-6F24051354AE}"/>
                </c:ext>
              </c:extLst>
            </c:dLbl>
            <c:dLbl>
              <c:idx val="2"/>
              <c:layout>
                <c:manualLayout>
                  <c:x val="-3.387803905938621E-2"/>
                  <c:y val="-0.16767764298093588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8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2D2-442B-8A32-6F24051354A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83</c:v>
                </c:pt>
                <c:pt idx="1">
                  <c:v>10</c:v>
                </c:pt>
                <c:pt idx="2">
                  <c:v>7.00000000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2D2-442B-8A32-6F24051354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4" Type="http://schemas.openxmlformats.org/officeDocument/2006/relationships/image" Target="../media/image21.svg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4" Type="http://schemas.openxmlformats.org/officeDocument/2006/relationships/image" Target="../media/image21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4" Type="http://schemas.openxmlformats.org/officeDocument/2006/relationships/image" Target="../media/image21.sv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4" Type="http://schemas.openxmlformats.org/officeDocument/2006/relationships/image" Target="../media/image21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F4A099B-3F3B-4D64-B644-8A93D3D2F41B}" type="doc">
      <dgm:prSet loTypeId="urn:microsoft.com/office/officeart/2018/2/layout/IconCircle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5D52A93-C507-49F7-B5AD-A018D3675E6E}" type="parTrans" cxnId="{70EA5AFA-4F9F-46A9-9706-28E526A2D6FC}">
      <dgm:prSet custT="1"/>
      <dgm:spPr/>
      <dgm:t>
        <a:bodyPr/>
        <a:lstStyle/>
        <a:p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0AA5E28-2DC2-4B5D-8F41-F6333A758590}">
      <dgm:prSet custT="1"/>
      <dgm:spPr/>
      <dgm:t>
        <a:bodyPr>
          <a:noAutofit/>
        </a:bodyPr>
        <a:lstStyle/>
        <a:p>
          <a:pPr rtl="0">
            <a:lnSpc>
              <a:spcPct val="100000"/>
            </a:lnSpc>
          </a:pPr>
          <a:r>
            <a:rPr lang="es-US" sz="2400" b="0" i="0" u="none" strike="noStrike" dirty="0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Se unirá a la reunión con la cámara y el micrófono apagados.</a:t>
          </a:r>
        </a:p>
      </dgm:t>
    </dgm:pt>
    <dgm:pt modelId="{740381F6-8F65-45E6-834C-2BFFFDA34B52}" type="sibTrans" cxnId="{70EA5AFA-4F9F-46A9-9706-28E526A2D6FC}">
      <dgm:prSet custT="1"/>
      <dgm:spPr/>
      <dgm:t>
        <a:bodyPr/>
        <a:lstStyle/>
        <a:p>
          <a:pPr>
            <a:lnSpc>
              <a:spcPct val="100000"/>
            </a:lnSpc>
          </a:pPr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F0419C9-5227-4483-9FFF-F50F7AABB817}" type="parTrans" cxnId="{3607FEEA-740F-40B2-B97A-9544041B232D}">
      <dgm:prSet custT="1"/>
      <dgm:spPr/>
      <dgm:t>
        <a:bodyPr/>
        <a:lstStyle/>
        <a:p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AB3197D-3839-4BA2-A797-8FE2069BC1A3}">
      <dgm:prSet custT="1"/>
      <dgm:spPr/>
      <dgm:t>
        <a:bodyPr>
          <a:noAutofit/>
        </a:bodyPr>
        <a:lstStyle/>
        <a:p>
          <a:pPr rtl="0">
            <a:lnSpc>
              <a:spcPct val="100000"/>
            </a:lnSpc>
          </a:pPr>
          <a:r>
            <a:rPr lang="es-US" sz="2400" b="0" i="0" u="none" strike="noStrike" dirty="0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Puede escribir preguntas o dejar comentarios en el panel de preguntas y respuestas de Zoom.</a:t>
          </a:r>
        </a:p>
      </dgm:t>
    </dgm:pt>
    <dgm:pt modelId="{C6BC1EE2-6297-4F68-9F23-E980040404AF}" type="sibTrans" cxnId="{3607FEEA-740F-40B2-B97A-9544041B232D}">
      <dgm:prSet custT="1"/>
      <dgm:spPr/>
      <dgm:t>
        <a:bodyPr/>
        <a:lstStyle/>
        <a:p>
          <a:pPr>
            <a:lnSpc>
              <a:spcPct val="100000"/>
            </a:lnSpc>
          </a:pPr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96F9BD3-7F33-45CB-B446-E78EE4310BCE}" type="pres">
      <dgm:prSet presAssocID="{4F4A099B-3F3B-4D64-B644-8A93D3D2F41B}" presName="root" presStyleCnt="0">
        <dgm:presLayoutVars>
          <dgm:dir/>
          <dgm:resizeHandles val="exact"/>
        </dgm:presLayoutVars>
      </dgm:prSet>
      <dgm:spPr/>
    </dgm:pt>
    <dgm:pt modelId="{F54E6E22-3A5E-4463-AFB2-61ED98D201A7}" type="pres">
      <dgm:prSet presAssocID="{4F4A099B-3F3B-4D64-B644-8A93D3D2F41B}" presName="container" presStyleCnt="0">
        <dgm:presLayoutVars>
          <dgm:dir/>
          <dgm:resizeHandles val="exact"/>
        </dgm:presLayoutVars>
      </dgm:prSet>
      <dgm:spPr/>
    </dgm:pt>
    <dgm:pt modelId="{E1AB4095-DF5E-4992-98A2-5942995E7073}" type="pres">
      <dgm:prSet presAssocID="{60AA5E28-2DC2-4B5D-8F41-F6333A758590}" presName="compNode" presStyleCnt="0"/>
      <dgm:spPr/>
    </dgm:pt>
    <dgm:pt modelId="{DF4A8D10-EC50-4AB5-AA36-8641C228503D}" type="pres">
      <dgm:prSet presAssocID="{60AA5E28-2DC2-4B5D-8F41-F6333A758590}" presName="iconBgRect" presStyleLbl="bgShp" presStyleIdx="0" presStyleCnt="2"/>
      <dgm:spPr/>
    </dgm:pt>
    <dgm:pt modelId="{79A50BC8-DD6D-455A-84E9-CAC77FC1A1C5}" type="pres">
      <dgm:prSet presAssocID="{60AA5E28-2DC2-4B5D-8F41-F6333A758590}" presName="iconRect" presStyleLbl="node1" presStyleIdx="0" presStyleCnt="2" custScaleX="133197" custScaleY="133197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s with solid fill"/>
        </a:ext>
      </dgm:extLst>
    </dgm:pt>
    <dgm:pt modelId="{4148BBF7-0768-4FEC-99FD-1DB593AB1125}" type="pres">
      <dgm:prSet presAssocID="{60AA5E28-2DC2-4B5D-8F41-F6333A758590}" presName="spaceRect" presStyleCnt="0"/>
      <dgm:spPr/>
    </dgm:pt>
    <dgm:pt modelId="{13F8F3C7-A9EB-4CC0-B17F-94578B3204DE}" type="pres">
      <dgm:prSet presAssocID="{60AA5E28-2DC2-4B5D-8F41-F6333A758590}" presName="textRect" presStyleLbl="revTx" presStyleIdx="0" presStyleCnt="2">
        <dgm:presLayoutVars>
          <dgm:chMax val="1"/>
          <dgm:chPref val="1"/>
        </dgm:presLayoutVars>
      </dgm:prSet>
      <dgm:spPr/>
    </dgm:pt>
    <dgm:pt modelId="{223A61D7-27B3-41FD-916E-BE2BE026F678}" type="pres">
      <dgm:prSet presAssocID="{740381F6-8F65-45E6-834C-2BFFFDA34B52}" presName="sibTrans" presStyleLbl="sibTrans2D1" presStyleIdx="0" presStyleCnt="0"/>
      <dgm:spPr/>
    </dgm:pt>
    <dgm:pt modelId="{934EFC36-7224-41C5-AD4F-0CAB4BC10557}" type="pres">
      <dgm:prSet presAssocID="{2AB3197D-3839-4BA2-A797-8FE2069BC1A3}" presName="compNode" presStyleCnt="0"/>
      <dgm:spPr/>
    </dgm:pt>
    <dgm:pt modelId="{65AB2DA9-120A-4C91-8EAD-3AA77E040AB4}" type="pres">
      <dgm:prSet presAssocID="{2AB3197D-3839-4BA2-A797-8FE2069BC1A3}" presName="iconBgRect" presStyleLbl="bgShp" presStyleIdx="1" presStyleCnt="2"/>
      <dgm:spPr/>
    </dgm:pt>
    <dgm:pt modelId="{6C4C39E3-A30E-4C95-A570-879E2759E563}" type="pres">
      <dgm:prSet presAssocID="{2AB3197D-3839-4BA2-A797-8FE2069BC1A3}" presName="iconRect" presStyleLbl="node1" presStyleIdx="1" presStyleCnt="2" custScaleX="137446" custScaleY="137446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Question mark"/>
        </a:ext>
      </dgm:extLst>
    </dgm:pt>
    <dgm:pt modelId="{F494E221-DD2D-446B-85C0-D033EAFCBFDC}" type="pres">
      <dgm:prSet presAssocID="{2AB3197D-3839-4BA2-A797-8FE2069BC1A3}" presName="spaceRect" presStyleCnt="0"/>
      <dgm:spPr/>
    </dgm:pt>
    <dgm:pt modelId="{56149493-6F81-4646-A1F4-6363391C9DB6}" type="pres">
      <dgm:prSet presAssocID="{2AB3197D-3839-4BA2-A797-8FE2069BC1A3}" presName="textRect" presStyleLbl="revTx" presStyleIdx="1" presStyleCnt="2">
        <dgm:presLayoutVars>
          <dgm:chMax val="1"/>
          <dgm:chPref val="1"/>
        </dgm:presLayoutVars>
      </dgm:prSet>
      <dgm:spPr/>
    </dgm:pt>
  </dgm:ptLst>
  <dgm:cxnLst>
    <dgm:cxn modelId="{6A207E36-0C67-4565-8DC2-4030B971BA2B}" type="presOf" srcId="{740381F6-8F65-45E6-834C-2BFFFDA34B52}" destId="{223A61D7-27B3-41FD-916E-BE2BE026F678}" srcOrd="0" destOrd="0" presId="urn:microsoft.com/office/officeart/2018/2/layout/IconCircleList"/>
    <dgm:cxn modelId="{80AE8D5E-07DE-443D-BA05-4754ED33F17A}" type="presOf" srcId="{4F4A099B-3F3B-4D64-B644-8A93D3D2F41B}" destId="{096F9BD3-7F33-45CB-B446-E78EE4310BCE}" srcOrd="0" destOrd="0" presId="urn:microsoft.com/office/officeart/2018/2/layout/IconCircleList"/>
    <dgm:cxn modelId="{DF5C4266-C143-409B-BDE2-8D653E7BD0CC}" type="presOf" srcId="{2AB3197D-3839-4BA2-A797-8FE2069BC1A3}" destId="{56149493-6F81-4646-A1F4-6363391C9DB6}" srcOrd="0" destOrd="0" presId="urn:microsoft.com/office/officeart/2018/2/layout/IconCircleList"/>
    <dgm:cxn modelId="{519091D1-BB53-4DD0-B687-06B45D1BC6F4}" type="presOf" srcId="{60AA5E28-2DC2-4B5D-8F41-F6333A758590}" destId="{13F8F3C7-A9EB-4CC0-B17F-94578B3204DE}" srcOrd="0" destOrd="0" presId="urn:microsoft.com/office/officeart/2018/2/layout/IconCircleList"/>
    <dgm:cxn modelId="{3607FEEA-740F-40B2-B97A-9544041B232D}" srcId="{4F4A099B-3F3B-4D64-B644-8A93D3D2F41B}" destId="{2AB3197D-3839-4BA2-A797-8FE2069BC1A3}" srcOrd="1" destOrd="0" parTransId="{7F0419C9-5227-4483-9FFF-F50F7AABB817}" sibTransId="{C6BC1EE2-6297-4F68-9F23-E980040404AF}"/>
    <dgm:cxn modelId="{70EA5AFA-4F9F-46A9-9706-28E526A2D6FC}" srcId="{4F4A099B-3F3B-4D64-B644-8A93D3D2F41B}" destId="{60AA5E28-2DC2-4B5D-8F41-F6333A758590}" srcOrd="0" destOrd="0" parTransId="{95D52A93-C507-49F7-B5AD-A018D3675E6E}" sibTransId="{740381F6-8F65-45E6-834C-2BFFFDA34B52}"/>
    <dgm:cxn modelId="{486DCF51-2D11-4FCC-B9ED-1056531A24E3}" type="presParOf" srcId="{096F9BD3-7F33-45CB-B446-E78EE4310BCE}" destId="{F54E6E22-3A5E-4463-AFB2-61ED98D201A7}" srcOrd="0" destOrd="0" presId="urn:microsoft.com/office/officeart/2018/2/layout/IconCircleList"/>
    <dgm:cxn modelId="{A63596AF-1248-4926-AD42-37D2803FC543}" type="presParOf" srcId="{F54E6E22-3A5E-4463-AFB2-61ED98D201A7}" destId="{E1AB4095-DF5E-4992-98A2-5942995E7073}" srcOrd="0" destOrd="0" presId="urn:microsoft.com/office/officeart/2018/2/layout/IconCircleList"/>
    <dgm:cxn modelId="{BC083607-A687-4AB6-9F94-BEF19C88EF11}" type="presParOf" srcId="{E1AB4095-DF5E-4992-98A2-5942995E7073}" destId="{DF4A8D10-EC50-4AB5-AA36-8641C228503D}" srcOrd="0" destOrd="0" presId="urn:microsoft.com/office/officeart/2018/2/layout/IconCircleList"/>
    <dgm:cxn modelId="{5BBEB670-99F4-4299-BC9A-0F0F9A2D0BB3}" type="presParOf" srcId="{E1AB4095-DF5E-4992-98A2-5942995E7073}" destId="{79A50BC8-DD6D-455A-84E9-CAC77FC1A1C5}" srcOrd="1" destOrd="0" presId="urn:microsoft.com/office/officeart/2018/2/layout/IconCircleList"/>
    <dgm:cxn modelId="{137E8B6E-874C-4BE3-ABAA-314103EBB54E}" type="presParOf" srcId="{E1AB4095-DF5E-4992-98A2-5942995E7073}" destId="{4148BBF7-0768-4FEC-99FD-1DB593AB1125}" srcOrd="2" destOrd="0" presId="urn:microsoft.com/office/officeart/2018/2/layout/IconCircleList"/>
    <dgm:cxn modelId="{30232719-D820-4EE6-A7C9-DACD9C468873}" type="presParOf" srcId="{E1AB4095-DF5E-4992-98A2-5942995E7073}" destId="{13F8F3C7-A9EB-4CC0-B17F-94578B3204DE}" srcOrd="3" destOrd="0" presId="urn:microsoft.com/office/officeart/2018/2/layout/IconCircleList"/>
    <dgm:cxn modelId="{B2115DB4-8453-4292-836A-49ADED78A831}" type="presParOf" srcId="{F54E6E22-3A5E-4463-AFB2-61ED98D201A7}" destId="{223A61D7-27B3-41FD-916E-BE2BE026F678}" srcOrd="1" destOrd="0" presId="urn:microsoft.com/office/officeart/2018/2/layout/IconCircleList"/>
    <dgm:cxn modelId="{3B8D7D17-0698-451F-8D4A-AA43D43D4FDA}" type="presParOf" srcId="{F54E6E22-3A5E-4463-AFB2-61ED98D201A7}" destId="{934EFC36-7224-41C5-AD4F-0CAB4BC10557}" srcOrd="2" destOrd="0" presId="urn:microsoft.com/office/officeart/2018/2/layout/IconCircleList"/>
    <dgm:cxn modelId="{2C26C8E9-7D24-4431-ACEE-39F40D8AE9B5}" type="presParOf" srcId="{934EFC36-7224-41C5-AD4F-0CAB4BC10557}" destId="{65AB2DA9-120A-4C91-8EAD-3AA77E040AB4}" srcOrd="0" destOrd="0" presId="urn:microsoft.com/office/officeart/2018/2/layout/IconCircleList"/>
    <dgm:cxn modelId="{D91ECFEA-A561-45B8-B701-D82A95D85193}" type="presParOf" srcId="{934EFC36-7224-41C5-AD4F-0CAB4BC10557}" destId="{6C4C39E3-A30E-4C95-A570-879E2759E563}" srcOrd="1" destOrd="0" presId="urn:microsoft.com/office/officeart/2018/2/layout/IconCircleList"/>
    <dgm:cxn modelId="{20CB8B1A-6DC7-4863-9A39-1F2521F6FF26}" type="presParOf" srcId="{934EFC36-7224-41C5-AD4F-0CAB4BC10557}" destId="{F494E221-DD2D-446B-85C0-D033EAFCBFDC}" srcOrd="2" destOrd="0" presId="urn:microsoft.com/office/officeart/2018/2/layout/IconCircleList"/>
    <dgm:cxn modelId="{D9516FBE-5358-4F24-9A6D-CA60FFF07C0F}" type="presParOf" srcId="{934EFC36-7224-41C5-AD4F-0CAB4BC10557}" destId="{56149493-6F81-4646-A1F4-6363391C9DB6}" srcOrd="3" destOrd="0" presId="urn:microsoft.com/office/officeart/2018/2/layout/IconCircle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main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F4A099B-3F3B-4D64-B644-8A93D3D2F41B}" type="doc">
      <dgm:prSet loTypeId="urn:microsoft.com/office/officeart/2018/2/layout/IconCircle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5D52A93-C507-49F7-B5AD-A018D3675E6E}" type="parTrans" cxnId="{00815251-D299-44B8-A3CF-3AC58C7AB478}">
      <dgm:prSet custT="1"/>
      <dgm:spPr/>
      <dgm:t>
        <a:bodyPr/>
        <a:lstStyle/>
        <a:p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0AA5E28-2DC2-4B5D-8F41-F6333A758590}">
      <dgm:prSet custT="1"/>
      <dgm:spPr/>
      <dgm:t>
        <a:bodyPr>
          <a:noAutofit/>
        </a:bodyPr>
        <a:lstStyle/>
        <a:p>
          <a:pPr rtl="0">
            <a:lnSpc>
              <a:spcPct val="100000"/>
            </a:lnSpc>
          </a:pPr>
          <a:r>
            <a:rPr lang="es-US" sz="2400" b="0" i="0" u="none" strike="noStrike" dirty="0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Se unirá a la reunión con la cámara y el micrófono apagados.</a:t>
          </a:r>
        </a:p>
      </dgm:t>
    </dgm:pt>
    <dgm:pt modelId="{740381F6-8F65-45E6-834C-2BFFFDA34B52}" type="sibTrans" cxnId="{00815251-D299-44B8-A3CF-3AC58C7AB478}">
      <dgm:prSet custT="1"/>
      <dgm:spPr/>
      <dgm:t>
        <a:bodyPr/>
        <a:lstStyle/>
        <a:p>
          <a:pPr>
            <a:lnSpc>
              <a:spcPct val="100000"/>
            </a:lnSpc>
          </a:pPr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F0419C9-5227-4483-9FFF-F50F7AABB817}" type="parTrans" cxnId="{5841CEA4-BA05-45E7-8489-21122FE942ED}">
      <dgm:prSet custT="1"/>
      <dgm:spPr/>
      <dgm:t>
        <a:bodyPr/>
        <a:lstStyle/>
        <a:p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AB3197D-3839-4BA2-A797-8FE2069BC1A3}">
      <dgm:prSet custT="1"/>
      <dgm:spPr/>
      <dgm:t>
        <a:bodyPr>
          <a:noAutofit/>
        </a:bodyPr>
        <a:lstStyle/>
        <a:p>
          <a:pPr rtl="0">
            <a:lnSpc>
              <a:spcPct val="100000"/>
            </a:lnSpc>
          </a:pPr>
          <a:r>
            <a:rPr lang="es-US" sz="2400" b="0" i="0" u="none" strike="noStrike" dirty="0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Puede escribir preguntas o dejar comentarios en el panel de preguntas y respuestas de Zoom.</a:t>
          </a:r>
        </a:p>
      </dgm:t>
    </dgm:pt>
    <dgm:pt modelId="{C6BC1EE2-6297-4F68-9F23-E980040404AF}" type="sibTrans" cxnId="{5841CEA4-BA05-45E7-8489-21122FE942ED}">
      <dgm:prSet custT="1"/>
      <dgm:spPr/>
      <dgm:t>
        <a:bodyPr/>
        <a:lstStyle/>
        <a:p>
          <a:pPr>
            <a:lnSpc>
              <a:spcPct val="100000"/>
            </a:lnSpc>
          </a:pPr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96F9BD3-7F33-45CB-B446-E78EE4310BCE}" type="pres">
      <dgm:prSet presAssocID="{4F4A099B-3F3B-4D64-B644-8A93D3D2F41B}" presName="root" presStyleCnt="0">
        <dgm:presLayoutVars>
          <dgm:dir/>
          <dgm:resizeHandles val="exact"/>
        </dgm:presLayoutVars>
      </dgm:prSet>
      <dgm:spPr/>
    </dgm:pt>
    <dgm:pt modelId="{F54E6E22-3A5E-4463-AFB2-61ED98D201A7}" type="pres">
      <dgm:prSet presAssocID="{4F4A099B-3F3B-4D64-B644-8A93D3D2F41B}" presName="container" presStyleCnt="0">
        <dgm:presLayoutVars>
          <dgm:dir/>
          <dgm:resizeHandles val="exact"/>
        </dgm:presLayoutVars>
      </dgm:prSet>
      <dgm:spPr/>
    </dgm:pt>
    <dgm:pt modelId="{E1AB4095-DF5E-4992-98A2-5942995E7073}" type="pres">
      <dgm:prSet presAssocID="{60AA5E28-2DC2-4B5D-8F41-F6333A758590}" presName="compNode" presStyleCnt="0"/>
      <dgm:spPr/>
    </dgm:pt>
    <dgm:pt modelId="{DF4A8D10-EC50-4AB5-AA36-8641C228503D}" type="pres">
      <dgm:prSet presAssocID="{60AA5E28-2DC2-4B5D-8F41-F6333A758590}" presName="iconBgRect" presStyleLbl="bgShp" presStyleIdx="0" presStyleCnt="2"/>
      <dgm:spPr/>
    </dgm:pt>
    <dgm:pt modelId="{79A50BC8-DD6D-455A-84E9-CAC77FC1A1C5}" type="pres">
      <dgm:prSet presAssocID="{60AA5E28-2DC2-4B5D-8F41-F6333A758590}" presName="iconRect" presStyleLbl="node1" presStyleIdx="0" presStyleCnt="2" custScaleX="133197" custScaleY="133197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s with solid fill"/>
        </a:ext>
      </dgm:extLst>
    </dgm:pt>
    <dgm:pt modelId="{4148BBF7-0768-4FEC-99FD-1DB593AB1125}" type="pres">
      <dgm:prSet presAssocID="{60AA5E28-2DC2-4B5D-8F41-F6333A758590}" presName="spaceRect" presStyleCnt="0"/>
      <dgm:spPr/>
    </dgm:pt>
    <dgm:pt modelId="{13F8F3C7-A9EB-4CC0-B17F-94578B3204DE}" type="pres">
      <dgm:prSet presAssocID="{60AA5E28-2DC2-4B5D-8F41-F6333A758590}" presName="textRect" presStyleLbl="revTx" presStyleIdx="0" presStyleCnt="2">
        <dgm:presLayoutVars>
          <dgm:chMax val="1"/>
          <dgm:chPref val="1"/>
        </dgm:presLayoutVars>
      </dgm:prSet>
      <dgm:spPr/>
    </dgm:pt>
    <dgm:pt modelId="{223A61D7-27B3-41FD-916E-BE2BE026F678}" type="pres">
      <dgm:prSet presAssocID="{740381F6-8F65-45E6-834C-2BFFFDA34B52}" presName="sibTrans" presStyleLbl="sibTrans2D1" presStyleIdx="0" presStyleCnt="0"/>
      <dgm:spPr/>
    </dgm:pt>
    <dgm:pt modelId="{934EFC36-7224-41C5-AD4F-0CAB4BC10557}" type="pres">
      <dgm:prSet presAssocID="{2AB3197D-3839-4BA2-A797-8FE2069BC1A3}" presName="compNode" presStyleCnt="0"/>
      <dgm:spPr/>
    </dgm:pt>
    <dgm:pt modelId="{65AB2DA9-120A-4C91-8EAD-3AA77E040AB4}" type="pres">
      <dgm:prSet presAssocID="{2AB3197D-3839-4BA2-A797-8FE2069BC1A3}" presName="iconBgRect" presStyleLbl="bgShp" presStyleIdx="1" presStyleCnt="2"/>
      <dgm:spPr/>
    </dgm:pt>
    <dgm:pt modelId="{6C4C39E3-A30E-4C95-A570-879E2759E563}" type="pres">
      <dgm:prSet presAssocID="{2AB3197D-3839-4BA2-A797-8FE2069BC1A3}" presName="iconRect" presStyleLbl="node1" presStyleIdx="1" presStyleCnt="2" custScaleX="137446" custScaleY="137446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Question mark"/>
        </a:ext>
      </dgm:extLst>
    </dgm:pt>
    <dgm:pt modelId="{F494E221-DD2D-446B-85C0-D033EAFCBFDC}" type="pres">
      <dgm:prSet presAssocID="{2AB3197D-3839-4BA2-A797-8FE2069BC1A3}" presName="spaceRect" presStyleCnt="0"/>
      <dgm:spPr/>
    </dgm:pt>
    <dgm:pt modelId="{56149493-6F81-4646-A1F4-6363391C9DB6}" type="pres">
      <dgm:prSet presAssocID="{2AB3197D-3839-4BA2-A797-8FE2069BC1A3}" presName="textRect" presStyleLbl="revTx" presStyleIdx="1" presStyleCnt="2">
        <dgm:presLayoutVars>
          <dgm:chMax val="1"/>
          <dgm:chPref val="1"/>
        </dgm:presLayoutVars>
      </dgm:prSet>
      <dgm:spPr/>
    </dgm:pt>
  </dgm:ptLst>
  <dgm:cxnLst>
    <dgm:cxn modelId="{00815251-D299-44B8-A3CF-3AC58C7AB478}" srcId="{4F4A099B-3F3B-4D64-B644-8A93D3D2F41B}" destId="{60AA5E28-2DC2-4B5D-8F41-F6333A758590}" srcOrd="0" destOrd="0" parTransId="{95D52A93-C507-49F7-B5AD-A018D3675E6E}" sibTransId="{740381F6-8F65-45E6-834C-2BFFFDA34B52}"/>
    <dgm:cxn modelId="{B20F8274-4C44-4D39-98FB-8D39E39865E7}" type="presOf" srcId="{60AA5E28-2DC2-4B5D-8F41-F6333A758590}" destId="{13F8F3C7-A9EB-4CC0-B17F-94578B3204DE}" srcOrd="0" destOrd="0" presId="urn:microsoft.com/office/officeart/2018/2/layout/IconCircleList"/>
    <dgm:cxn modelId="{9B809584-D00B-4877-A13F-5A7FD5CBD5BA}" type="presOf" srcId="{740381F6-8F65-45E6-834C-2BFFFDA34B52}" destId="{223A61D7-27B3-41FD-916E-BE2BE026F678}" srcOrd="0" destOrd="0" presId="urn:microsoft.com/office/officeart/2018/2/layout/IconCircleList"/>
    <dgm:cxn modelId="{FF58D4A3-1497-453B-9C55-3563A8D621CB}" type="presOf" srcId="{4F4A099B-3F3B-4D64-B644-8A93D3D2F41B}" destId="{096F9BD3-7F33-45CB-B446-E78EE4310BCE}" srcOrd="0" destOrd="0" presId="urn:microsoft.com/office/officeart/2018/2/layout/IconCircleList"/>
    <dgm:cxn modelId="{5841CEA4-BA05-45E7-8489-21122FE942ED}" srcId="{4F4A099B-3F3B-4D64-B644-8A93D3D2F41B}" destId="{2AB3197D-3839-4BA2-A797-8FE2069BC1A3}" srcOrd="1" destOrd="0" parTransId="{7F0419C9-5227-4483-9FFF-F50F7AABB817}" sibTransId="{C6BC1EE2-6297-4F68-9F23-E980040404AF}"/>
    <dgm:cxn modelId="{5837AFBE-44EC-4FAE-B0BB-992B43B18D0E}" type="presOf" srcId="{2AB3197D-3839-4BA2-A797-8FE2069BC1A3}" destId="{56149493-6F81-4646-A1F4-6363391C9DB6}" srcOrd="0" destOrd="0" presId="urn:microsoft.com/office/officeart/2018/2/layout/IconCircleList"/>
    <dgm:cxn modelId="{370B322D-DA31-4711-8BCA-FF188F2D489B}" type="presParOf" srcId="{096F9BD3-7F33-45CB-B446-E78EE4310BCE}" destId="{F54E6E22-3A5E-4463-AFB2-61ED98D201A7}" srcOrd="0" destOrd="0" presId="urn:microsoft.com/office/officeart/2018/2/layout/IconCircleList"/>
    <dgm:cxn modelId="{79AACF47-8B84-446C-AD88-135991D4D893}" type="presParOf" srcId="{F54E6E22-3A5E-4463-AFB2-61ED98D201A7}" destId="{E1AB4095-DF5E-4992-98A2-5942995E7073}" srcOrd="0" destOrd="0" presId="urn:microsoft.com/office/officeart/2018/2/layout/IconCircleList"/>
    <dgm:cxn modelId="{8623FFB6-CCA2-4330-B0E2-C4D16BE0F8D8}" type="presParOf" srcId="{E1AB4095-DF5E-4992-98A2-5942995E7073}" destId="{DF4A8D10-EC50-4AB5-AA36-8641C228503D}" srcOrd="0" destOrd="0" presId="urn:microsoft.com/office/officeart/2018/2/layout/IconCircleList"/>
    <dgm:cxn modelId="{7BC94D61-28AF-471A-AF21-FCF657A8F1F6}" type="presParOf" srcId="{E1AB4095-DF5E-4992-98A2-5942995E7073}" destId="{79A50BC8-DD6D-455A-84E9-CAC77FC1A1C5}" srcOrd="1" destOrd="0" presId="urn:microsoft.com/office/officeart/2018/2/layout/IconCircleList"/>
    <dgm:cxn modelId="{ACE39270-8CDA-478E-8746-7052A715B155}" type="presParOf" srcId="{E1AB4095-DF5E-4992-98A2-5942995E7073}" destId="{4148BBF7-0768-4FEC-99FD-1DB593AB1125}" srcOrd="2" destOrd="0" presId="urn:microsoft.com/office/officeart/2018/2/layout/IconCircleList"/>
    <dgm:cxn modelId="{DE723743-BCBF-4E61-B1A7-7CCAEB4F1B49}" type="presParOf" srcId="{E1AB4095-DF5E-4992-98A2-5942995E7073}" destId="{13F8F3C7-A9EB-4CC0-B17F-94578B3204DE}" srcOrd="3" destOrd="0" presId="urn:microsoft.com/office/officeart/2018/2/layout/IconCircleList"/>
    <dgm:cxn modelId="{94DC918A-5B5C-4939-9877-2C2A102FF959}" type="presParOf" srcId="{F54E6E22-3A5E-4463-AFB2-61ED98D201A7}" destId="{223A61D7-27B3-41FD-916E-BE2BE026F678}" srcOrd="1" destOrd="0" presId="urn:microsoft.com/office/officeart/2018/2/layout/IconCircleList"/>
    <dgm:cxn modelId="{528FB5D4-B729-40F8-B5F1-2173D8C6C14E}" type="presParOf" srcId="{F54E6E22-3A5E-4463-AFB2-61ED98D201A7}" destId="{934EFC36-7224-41C5-AD4F-0CAB4BC10557}" srcOrd="2" destOrd="0" presId="urn:microsoft.com/office/officeart/2018/2/layout/IconCircleList"/>
    <dgm:cxn modelId="{64BFD925-44FB-49B8-A758-EFE1CDB7FE7C}" type="presParOf" srcId="{934EFC36-7224-41C5-AD4F-0CAB4BC10557}" destId="{65AB2DA9-120A-4C91-8EAD-3AA77E040AB4}" srcOrd="0" destOrd="0" presId="urn:microsoft.com/office/officeart/2018/2/layout/IconCircleList"/>
    <dgm:cxn modelId="{81D6108E-5D8B-4A2C-94EA-8112F660943B}" type="presParOf" srcId="{934EFC36-7224-41C5-AD4F-0CAB4BC10557}" destId="{6C4C39E3-A30E-4C95-A570-879E2759E563}" srcOrd="1" destOrd="0" presId="urn:microsoft.com/office/officeart/2018/2/layout/IconCircleList"/>
    <dgm:cxn modelId="{EBA11591-6098-4553-BD33-FC5821BB5764}" type="presParOf" srcId="{934EFC36-7224-41C5-AD4F-0CAB4BC10557}" destId="{F494E221-DD2D-446B-85C0-D033EAFCBFDC}" srcOrd="2" destOrd="0" presId="urn:microsoft.com/office/officeart/2018/2/layout/IconCircleList"/>
    <dgm:cxn modelId="{51D5EBC4-65F5-466B-9BF8-52B56258FAFC}" type="presParOf" srcId="{934EFC36-7224-41C5-AD4F-0CAB4BC10557}" destId="{56149493-6F81-4646-A1F4-6363391C9DB6}" srcOrd="3" destOrd="0" presId="urn:microsoft.com/office/officeart/2018/2/layout/IconCircle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main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4A8D10-EC50-4AB5-AA36-8641C228503D}">
      <dsp:nvSpPr>
        <dsp:cNvPr id="0" name=""/>
        <dsp:cNvSpPr/>
      </dsp:nvSpPr>
      <dsp:spPr>
        <a:xfrm>
          <a:off x="847179" y="923693"/>
          <a:ext cx="1214228" cy="1214228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9A50BC8-DD6D-455A-84E9-CAC77FC1A1C5}">
      <dsp:nvSpPr>
        <dsp:cNvPr id="0" name=""/>
        <dsp:cNvSpPr/>
      </dsp:nvSpPr>
      <dsp:spPr>
        <a:xfrm>
          <a:off x="985272" y="1061786"/>
          <a:ext cx="938043" cy="938043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F8F3C7-A9EB-4CC0-B17F-94578B3204DE}">
      <dsp:nvSpPr>
        <dsp:cNvPr id="0" name=""/>
        <dsp:cNvSpPr/>
      </dsp:nvSpPr>
      <dsp:spPr>
        <a:xfrm>
          <a:off x="2321599" y="923693"/>
          <a:ext cx="2862109" cy="12142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1066800" rtl="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US" sz="2400" b="0" i="0" u="none" strike="noStrike" kern="1200" dirty="0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Se unirá a la reunión con la cámara y el micrófono apagados.</a:t>
          </a:r>
        </a:p>
      </dsp:txBody>
      <dsp:txXfrm>
        <a:off x="2321599" y="923693"/>
        <a:ext cx="2862109" cy="1214228"/>
      </dsp:txXfrm>
    </dsp:sp>
    <dsp:sp modelId="{65AB2DA9-120A-4C91-8EAD-3AA77E040AB4}">
      <dsp:nvSpPr>
        <dsp:cNvPr id="0" name=""/>
        <dsp:cNvSpPr/>
      </dsp:nvSpPr>
      <dsp:spPr>
        <a:xfrm>
          <a:off x="5682410" y="923693"/>
          <a:ext cx="1214228" cy="1214228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4C39E3-A30E-4C95-A570-879E2759E563}">
      <dsp:nvSpPr>
        <dsp:cNvPr id="0" name=""/>
        <dsp:cNvSpPr/>
      </dsp:nvSpPr>
      <dsp:spPr>
        <a:xfrm>
          <a:off x="5805541" y="1046824"/>
          <a:ext cx="967966" cy="96796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149493-6F81-4646-A1F4-6363391C9DB6}">
      <dsp:nvSpPr>
        <dsp:cNvPr id="0" name=""/>
        <dsp:cNvSpPr/>
      </dsp:nvSpPr>
      <dsp:spPr>
        <a:xfrm>
          <a:off x="7156830" y="923693"/>
          <a:ext cx="2862109" cy="12142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1066800" rtl="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US" sz="2400" b="0" i="0" u="none" strike="noStrike" kern="1200" dirty="0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Puede escribir preguntas o dejar comentarios en el panel de preguntas y respuestas de Zoom.</a:t>
          </a:r>
        </a:p>
      </dsp:txBody>
      <dsp:txXfrm>
        <a:off x="7156830" y="923693"/>
        <a:ext cx="2862109" cy="121422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4A8D10-EC50-4AB5-AA36-8641C228503D}">
      <dsp:nvSpPr>
        <dsp:cNvPr id="0" name=""/>
        <dsp:cNvSpPr/>
      </dsp:nvSpPr>
      <dsp:spPr>
        <a:xfrm>
          <a:off x="847179" y="923693"/>
          <a:ext cx="1214228" cy="1214228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9A50BC8-DD6D-455A-84E9-CAC77FC1A1C5}">
      <dsp:nvSpPr>
        <dsp:cNvPr id="0" name=""/>
        <dsp:cNvSpPr/>
      </dsp:nvSpPr>
      <dsp:spPr>
        <a:xfrm>
          <a:off x="985272" y="1061786"/>
          <a:ext cx="938043" cy="938043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F8F3C7-A9EB-4CC0-B17F-94578B3204DE}">
      <dsp:nvSpPr>
        <dsp:cNvPr id="0" name=""/>
        <dsp:cNvSpPr/>
      </dsp:nvSpPr>
      <dsp:spPr>
        <a:xfrm>
          <a:off x="2321599" y="923693"/>
          <a:ext cx="2862109" cy="12142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1066800" rtl="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US" sz="2400" b="0" i="0" u="none" strike="noStrike" kern="1200" dirty="0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Se unirá a la reunión con la cámara y el micrófono apagados.</a:t>
          </a:r>
        </a:p>
      </dsp:txBody>
      <dsp:txXfrm>
        <a:off x="2321599" y="923693"/>
        <a:ext cx="2862109" cy="1214228"/>
      </dsp:txXfrm>
    </dsp:sp>
    <dsp:sp modelId="{65AB2DA9-120A-4C91-8EAD-3AA77E040AB4}">
      <dsp:nvSpPr>
        <dsp:cNvPr id="0" name=""/>
        <dsp:cNvSpPr/>
      </dsp:nvSpPr>
      <dsp:spPr>
        <a:xfrm>
          <a:off x="5682410" y="923693"/>
          <a:ext cx="1214228" cy="1214228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4C39E3-A30E-4C95-A570-879E2759E563}">
      <dsp:nvSpPr>
        <dsp:cNvPr id="0" name=""/>
        <dsp:cNvSpPr/>
      </dsp:nvSpPr>
      <dsp:spPr>
        <a:xfrm>
          <a:off x="5805541" y="1046824"/>
          <a:ext cx="967966" cy="96796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149493-6F81-4646-A1F4-6363391C9DB6}">
      <dsp:nvSpPr>
        <dsp:cNvPr id="0" name=""/>
        <dsp:cNvSpPr/>
      </dsp:nvSpPr>
      <dsp:spPr>
        <a:xfrm>
          <a:off x="7156830" y="923693"/>
          <a:ext cx="2862109" cy="12142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1066800" rtl="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US" sz="2400" b="0" i="0" u="none" strike="noStrike" kern="1200" dirty="0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Puede escribir preguntas o dejar comentarios en el panel de preguntas y respuestas de Zoom.</a:t>
          </a:r>
        </a:p>
      </dsp:txBody>
      <dsp:txXfrm>
        <a:off x="7156830" y="923693"/>
        <a:ext cx="2862109" cy="121422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CircleList">
  <dgm:title val="Icon Circle List"/>
  <dgm:desc val="Use to show non-sequential or grouped chunks of information accompanied by related visuals. Circular shapes can hold an icon or small picture and corresponding text box shows Level 1 text. Works best for icons or small pictures with medium-length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alg type="sp"/>
    <dgm:shape xmlns:r="http://schemas.openxmlformats.org/officeDocument/2006/relationships" r:blip="">
      <dgm:adjLst/>
    </dgm:shape>
    <dgm:presOf/>
    <dgm:choose name="Name0">
      <dgm:if name="Name1" axis="ch" ptType="node" func="cnt" op="lte" val="3">
        <dgm:constrLst>
          <dgm:constr type="w" for="ch" forName="container" refType="w"/>
          <dgm:constr type="h" for="ch" forName="container" refType="h" fact="0.4"/>
        </dgm:constrLst>
      </dgm:if>
      <dgm:else name="Name2">
        <dgm:constrLst>
          <dgm:constr type="w" for="ch" forName="container" refType="w"/>
          <dgm:constr type="h" for="ch" forName="container" refType="h"/>
        </dgm:constrLst>
      </dgm:else>
    </dgm:choose>
    <dgm:ruleLst>
      <dgm:rule type="h" for="ch" forName="container" val="INF" fact="NaN" max="NaN"/>
    </dgm:ruleLst>
    <dgm:layoutNode name="container">
      <dgm:varLst>
        <dgm:dir/>
        <dgm:resizeHandles val="exact"/>
      </dgm:varLst>
      <dgm:choose name="Name3">
        <dgm:if name="Name4" axis="self" func="var" arg="dir" op="equ" val="norm">
          <dgm:alg type="snake">
            <dgm:param type="grDir" val="tL"/>
            <dgm:param type="flowDir" val="row"/>
            <dgm:param type="contDir" val="sameDir"/>
          </dgm:alg>
        </dgm:if>
        <dgm:else name="Name5">
          <dgm:alg type="snake">
            <dgm:param type="grDir" val="tR"/>
            <dgm:param type="flowDir" val="row"/>
            <dgm:param type="contDir" val="sameDi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w" fact="0.28"/>
        <dgm:constr type="w" for="ch" forName="sibTrans" refType="w" refFor="ch" refForName="compNode" fact="0.115"/>
        <dgm:constr type="sp" refType="h" op="equ" fact="0.17"/>
        <dgm:constr type="primFontSz" for="des" ptType="node" op="equ" val="24"/>
        <dgm:constr type="h" for="des" forName="compNode" op="equ"/>
        <dgm:constr type="h" for="des" forName="iconBgRect" op="equ"/>
      </dgm:constrLst>
      <dgm:ruleLst>
        <dgm:rule type="w" for="ch" forName="compNode" val="60" fact="NaN" max="NaN"/>
      </dgm:ruleLst>
      <dgm:forEach name="Name6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 axis="self"/>
          <dgm:constrLst>
            <dgm:constr type="w" for="ch" forName="iconBgRect" refType="w" fact="0.28"/>
            <dgm:constr type="h" for="ch" forName="iconBgRect" refType="w" refFor="ch" refForName="iconBgRect"/>
            <dgm:constr type="t" for="ch" forName="iconBgRect"/>
            <dgm:constr type="l" for="ch" forName="iconBgRect"/>
            <dgm:constr type="w" for="ch" forName="iconRect" refType="w" refFor="ch" refForName="iconBgRect" fact="0.58"/>
            <dgm:constr type="h" for="ch" forName="iconRect" refType="w" refFor="ch" refForName="iconRect"/>
            <dgm:constr type="ctrX" for="ch" forName="iconRect" refType="ctrX" refFor="ch" refForName="iconBgRect"/>
            <dgm:constr type="ctrY" for="ch" forName="iconRect" refType="ctrY" refFor="ch" refForName="iconBgRect"/>
            <dgm:constr type="w" for="ch" forName="spaceRect" refType="w" fact="0.06"/>
            <dgm:constr type="h" for="ch" forName="spaceRect" refType="h" refFor="ch" refForName="iconBgRect"/>
            <dgm:constr type="t" for="ch" forName="spaceRect" refType="t" refFor="ch" refForName="iconBgRect"/>
            <dgm:constr type="l" for="ch" forName="spaceRect" refType="r" refFor="ch" refForName="iconBgRect"/>
            <dgm:constr type="h" for="ch" forName="textRect" refType="h" refFor="ch" refForName="iconBgRect"/>
            <dgm:constr type="t" for="ch" forName="textRect" refType="t" refFor="ch" refForName="iconBgRect"/>
            <dgm:constr type="l" for="ch" forName="textRect" refType="r" refFor="ch" refForName="spaceRect"/>
          </dgm:constrLst>
          <dgm:ruleLst/>
          <dgm:layoutNode name="iconBgRect" styleLbl="bgShp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  <dgm:ruleLst/>
          </dgm:layoutNode>
          <dgm:layoutNode name="iconRect" styleLbl="node1">
            <dgm:alg type="sp"/>
            <dgm:shape xmlns:r="http://schemas.openxmlformats.org/officeDocument/2006/relationships" type="rect" r:blip="" blipPhldr="1">
              <dgm:adjLst/>
            </dgm:shape>
            <dgm:presOf/>
            <dgm:constrLst/>
            <dgm:ruleLst/>
          </dgm:layoutNode>
          <dgm:layoutNode name="spaceRect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textRect" styleLbl="revTx">
            <dgm:varLst>
              <dgm:chMax val="1"/>
              <dgm:chPref val="1"/>
            </dgm:varLst>
            <dgm:choose name="Name7">
              <dgm:if name="Name8" func="var" arg="dir" op="equ" val="norm">
                <dgm:alg type="tx">
                  <dgm:param type="txAnchorVert" val="mid"/>
                  <dgm:param type="parTxLTRAlign" val="l"/>
                  <dgm:param type="shpTxLTRAlignCh" val="l"/>
                  <dgm:param type="parTxRTLAlign" val="l"/>
                  <dgm:param type="shpTxRTLAlignCh" val="l"/>
                </dgm:alg>
              </dgm:if>
              <dgm:else name="Name9">
                <dgm:alg type="tx">
                  <dgm:param type="txAnchorVert" val="mid"/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11" fact="NaN" max="NaN"/>
            </dgm:ruleLst>
          </dgm:layoutNode>
        </dgm:layoutNode>
        <dgm:forEach name="Name10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CircleList">
  <dgm:title val="Icon Circle List"/>
  <dgm:desc val="Use to show non-sequential or grouped chunks of information accompanied by related visuals. Circular shapes can hold an icon or small picture and corresponding text box shows Level 1 text. Works best for icons or small pictures with medium-length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alg type="sp"/>
    <dgm:shape xmlns:r="http://schemas.openxmlformats.org/officeDocument/2006/relationships" r:blip="">
      <dgm:adjLst/>
    </dgm:shape>
    <dgm:presOf/>
    <dgm:choose name="Name0">
      <dgm:if name="Name1" axis="ch" ptType="node" func="cnt" op="lte" val="3">
        <dgm:constrLst>
          <dgm:constr type="w" for="ch" forName="container" refType="w"/>
          <dgm:constr type="h" for="ch" forName="container" refType="h" fact="0.4"/>
        </dgm:constrLst>
      </dgm:if>
      <dgm:else name="Name2">
        <dgm:constrLst>
          <dgm:constr type="w" for="ch" forName="container" refType="w"/>
          <dgm:constr type="h" for="ch" forName="container" refType="h"/>
        </dgm:constrLst>
      </dgm:else>
    </dgm:choose>
    <dgm:ruleLst>
      <dgm:rule type="h" for="ch" forName="container" val="INF" fact="NaN" max="NaN"/>
    </dgm:ruleLst>
    <dgm:layoutNode name="container">
      <dgm:varLst>
        <dgm:dir/>
        <dgm:resizeHandles val="exact"/>
      </dgm:varLst>
      <dgm:choose name="Name3">
        <dgm:if name="Name4" axis="self" func="var" arg="dir" op="equ" val="norm">
          <dgm:alg type="snake">
            <dgm:param type="grDir" val="tL"/>
            <dgm:param type="flowDir" val="row"/>
            <dgm:param type="contDir" val="sameDir"/>
          </dgm:alg>
        </dgm:if>
        <dgm:else name="Name5">
          <dgm:alg type="snake">
            <dgm:param type="grDir" val="tR"/>
            <dgm:param type="flowDir" val="row"/>
            <dgm:param type="contDir" val="sameDi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w" fact="0.28"/>
        <dgm:constr type="w" for="ch" forName="sibTrans" refType="w" refFor="ch" refForName="compNode" fact="0.115"/>
        <dgm:constr type="sp" refType="h" op="equ" fact="0.17"/>
        <dgm:constr type="primFontSz" for="des" ptType="node" op="equ" val="24"/>
        <dgm:constr type="h" for="des" forName="compNode" op="equ"/>
        <dgm:constr type="h" for="des" forName="iconBgRect" op="equ"/>
      </dgm:constrLst>
      <dgm:ruleLst>
        <dgm:rule type="w" for="ch" forName="compNode" val="60" fact="NaN" max="NaN"/>
      </dgm:ruleLst>
      <dgm:forEach name="Name6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 axis="self"/>
          <dgm:constrLst>
            <dgm:constr type="w" for="ch" forName="iconBgRect" refType="w" fact="0.28"/>
            <dgm:constr type="h" for="ch" forName="iconBgRect" refType="w" refFor="ch" refForName="iconBgRect"/>
            <dgm:constr type="t" for="ch" forName="iconBgRect"/>
            <dgm:constr type="l" for="ch" forName="iconBgRect"/>
            <dgm:constr type="w" for="ch" forName="iconRect" refType="w" refFor="ch" refForName="iconBgRect" fact="0.58"/>
            <dgm:constr type="h" for="ch" forName="iconRect" refType="w" refFor="ch" refForName="iconRect"/>
            <dgm:constr type="ctrX" for="ch" forName="iconRect" refType="ctrX" refFor="ch" refForName="iconBgRect"/>
            <dgm:constr type="ctrY" for="ch" forName="iconRect" refType="ctrY" refFor="ch" refForName="iconBgRect"/>
            <dgm:constr type="w" for="ch" forName="spaceRect" refType="w" fact="0.06"/>
            <dgm:constr type="h" for="ch" forName="spaceRect" refType="h" refFor="ch" refForName="iconBgRect"/>
            <dgm:constr type="t" for="ch" forName="spaceRect" refType="t" refFor="ch" refForName="iconBgRect"/>
            <dgm:constr type="l" for="ch" forName="spaceRect" refType="r" refFor="ch" refForName="iconBgRect"/>
            <dgm:constr type="h" for="ch" forName="textRect" refType="h" refFor="ch" refForName="iconBgRect"/>
            <dgm:constr type="t" for="ch" forName="textRect" refType="t" refFor="ch" refForName="iconBgRect"/>
            <dgm:constr type="l" for="ch" forName="textRect" refType="r" refFor="ch" refForName="spaceRect"/>
          </dgm:constrLst>
          <dgm:ruleLst/>
          <dgm:layoutNode name="iconBgRect" styleLbl="bgShp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  <dgm:ruleLst/>
          </dgm:layoutNode>
          <dgm:layoutNode name="iconRect" styleLbl="node1">
            <dgm:alg type="sp"/>
            <dgm:shape xmlns:r="http://schemas.openxmlformats.org/officeDocument/2006/relationships" type="rect" r:blip="" blipPhldr="1">
              <dgm:adjLst/>
            </dgm:shape>
            <dgm:presOf/>
            <dgm:constrLst/>
            <dgm:ruleLst/>
          </dgm:layoutNode>
          <dgm:layoutNode name="spaceRect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textRect" styleLbl="revTx">
            <dgm:varLst>
              <dgm:chMax val="1"/>
              <dgm:chPref val="1"/>
            </dgm:varLst>
            <dgm:choose name="Name7">
              <dgm:if name="Name8" func="var" arg="dir" op="equ" val="norm">
                <dgm:alg type="tx">
                  <dgm:param type="txAnchorVert" val="mid"/>
                  <dgm:param type="parTxLTRAlign" val="l"/>
                  <dgm:param type="shpTxLTRAlignCh" val="l"/>
                  <dgm:param type="parTxRTLAlign" val="l"/>
                  <dgm:param type="shpTxRTLAlignCh" val="l"/>
                </dgm:alg>
              </dgm:if>
              <dgm:else name="Name9">
                <dgm:alg type="tx">
                  <dgm:param type="txAnchorVert" val="mid"/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11" fact="NaN" max="NaN"/>
            </dgm:ruleLst>
          </dgm:layoutNode>
        </dgm:layoutNode>
        <dgm:forEach name="Name10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EB7E12-54D4-4C67-9570-168A88C5EAD8}" type="datetimeFigureOut">
              <a:rPr lang="en-US" smtClean="0"/>
              <a:t>7/1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3542B3-F54D-4CDE-82D3-11511A72FE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9696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3542B3-F54D-4CDE-82D3-11511A72FE2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3451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C08F71-2F44-487C-B277-B59DFCD7661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68691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BF59E565-8FC5-41F0-AACB-E806946EB85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06738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3542B3-F54D-4CDE-82D3-11511A72FE2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28110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3542B3-F54D-4CDE-82D3-11511A72FE2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71653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3542B3-F54D-4CDE-82D3-11511A72FE2E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34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711396-DFA7-4CCB-84D9-678E61D563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C8653E2-4405-420F-98C2-321F83DC17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B1E71F64-74D8-4920-9544-FC74BF1B4C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6F5D094-A883-4753-8F81-B883AB2B73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5CA5F2D-27AD-48BC-AAD3-B915799B79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5719783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711D42-7AEE-4901-B3A8-EA1C863AB3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102E7EF-02E8-470A-93BE-12258C1A6EB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BBAF82-9157-467D-B906-55C320EBC72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574718"/>
            <a:ext cx="2743200" cy="262814"/>
          </a:xfrm>
        </p:spPr>
        <p:txBody>
          <a:bodyPr/>
          <a:lstStyle/>
          <a:p>
            <a:r>
              <a:rPr lang="en-US"/>
              <a:t>August 2018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05C780-4DDF-428F-9D76-D35A33EEFD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74717"/>
            <a:ext cx="4114800" cy="262815"/>
          </a:xfrm>
        </p:spPr>
        <p:txBody>
          <a:bodyPr/>
          <a:lstStyle/>
          <a:p>
            <a:r>
              <a:rPr lang="en-US"/>
              <a:t>Cambridge Community Development Depart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BC3997-4EFB-4F8F-B7DF-713A25221A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574717"/>
            <a:ext cx="2743200" cy="262815"/>
          </a:xfrm>
        </p:spPr>
        <p:txBody>
          <a:bodyPr/>
          <a:lstStyle/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0427885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7C4C7F2-A9D4-4281-9995-94A18D088E6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BD43AEF-E526-438A-AF5B-A34D54FD750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66BA93-2177-4955-961C-A67FA31CEB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August 2018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0A085C-2275-4818-80E1-B85C498A3B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mbridge Community Development Depart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6F9572-1922-4E4B-8986-330627BD1F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8661006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ecific Subject - Content no_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0" y="6592072"/>
            <a:ext cx="12192000" cy="265928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690688"/>
            <a:ext cx="10515600" cy="4486275"/>
          </a:xfrm>
        </p:spPr>
        <p:txBody>
          <a:bodyPr/>
          <a:lstStyle>
            <a:lvl1pPr>
              <a:buClr>
                <a:srgbClr val="00ADB5"/>
              </a:buClr>
              <a:defRPr/>
            </a:lvl1pPr>
            <a:lvl2pPr>
              <a:buClr>
                <a:srgbClr val="00ADB5"/>
              </a:buClr>
              <a:defRPr/>
            </a:lvl2pPr>
            <a:lvl3pPr>
              <a:buClr>
                <a:srgbClr val="00ADB5"/>
              </a:buClr>
              <a:defRPr/>
            </a:lvl3pPr>
            <a:lvl4pPr>
              <a:buClr>
                <a:srgbClr val="00ADB5"/>
              </a:buClr>
              <a:defRPr/>
            </a:lvl4pPr>
            <a:lvl5pPr>
              <a:buClr>
                <a:srgbClr val="00ADB5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Working Group #10, August 18, 2020 – Slid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2057C4-A5E3-457A-B954-93E2840376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8215541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A9B7A4-C9CE-473D-AFD4-05F05FFDA8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5E326C-F78C-4379-91A8-C8312F64E3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E4A1F1C2-8774-42CD-97A4-25F123C936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4E816B4-1FA7-4C29-BEE0-2097A4D68B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A9F79A2E-7A04-4F11-9903-0F0610D03B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</p:spTree>
    <p:extLst>
      <p:ext uri="{BB962C8B-B14F-4D97-AF65-F5344CB8AC3E}">
        <p14:creationId xmlns:p14="http://schemas.microsoft.com/office/powerpoint/2010/main" val="33347855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6C29C4-DE43-4A44-9301-46AF8429A9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B10F39-4553-4A0A-8C0E-A596F985FF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8EBC95-FE79-4679-AD0E-5AB0FF4D2D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August 2018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411A8F9A-8EF0-4476-BA7E-E6957E24CD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3E88BEA-41AE-4BF7-A3C1-F9CDA0EE82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5180557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7F6714-5F1B-49DA-A649-E81DF36A3A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519F63-EC57-4704-8894-C1E60141DDC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84CAE8A-B8E9-4CE0-B65D-A1403F08E2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68F72FD7-2C83-482C-B5EB-521F04A0754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84E2D41C-EAE0-4DC9-9A3A-91D30C129F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D883A73-6F22-408F-957E-4F8E9C78D4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4629068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F56BF8-3F5A-42E0-96F4-D007C3C155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D0BF24-56C9-44E4-B8BC-01CD159392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BDF7FB-B694-40D9-8158-397E1D3D93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75073B-C5FD-492D-9B10-A6CF335CF55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002F9BF-2077-4BE7-92CD-EF351FFFECA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7C43D8C-29B0-4108-A9E3-213C5014A3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3E44E85C-BCB7-49E0-A848-21BB3F3623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6247D30-897E-440F-99BB-B733D4F5C7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025857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EAF277-CC1D-4893-BAFA-E30C537898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7CDA6A11-6051-43E3-9B9A-342B1862076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AA06A01B-BECC-48FE-9C90-5DA81E5FFA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C7661D3-5DF5-4C14-875F-770D51D41F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4344005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F7BA6A52-AEFE-4681-8C5C-7FA07FA77C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F79DAC1B-1DC0-4B74-9AC2-325EE7B515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35895B1-7071-452C-BBEB-8125F4DCBE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7285112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22CB2B-2573-477F-B095-C243077278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D74EBD-584D-44E2-BC50-9CFB04D86B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540EA6-1D58-4564-A13C-D2323740E28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A51AA7D7-4E3C-49DB-A30C-DDF2BEAFDA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574718"/>
            <a:ext cx="2743200" cy="262814"/>
          </a:xfrm>
        </p:spPr>
        <p:txBody>
          <a:bodyPr/>
          <a:lstStyle/>
          <a:p>
            <a:r>
              <a:rPr lang="en-US"/>
              <a:t>August 2018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4F2E7599-9519-49AC-96F6-129A424BC7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74717"/>
            <a:ext cx="4114800" cy="262815"/>
          </a:xfrm>
        </p:spPr>
        <p:txBody>
          <a:bodyPr/>
          <a:lstStyle/>
          <a:p>
            <a:r>
              <a:rPr lang="en-US"/>
              <a:t>Cambridge Community Development Department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5D94946-80F8-4382-A362-2C63B16024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574717"/>
            <a:ext cx="2743200" cy="262815"/>
          </a:xfrm>
        </p:spPr>
        <p:txBody>
          <a:bodyPr/>
          <a:lstStyle/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0042567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D27068-96F0-49CF-AF15-DB9F10D98D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97D8B9A-7495-4C72-8923-0C81216B16F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74DF8D-F518-472B-BB55-6AFC87D4361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34AE8DE2-AF0E-43A3-8044-AB01229946B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574718"/>
            <a:ext cx="2743200" cy="262814"/>
          </a:xfrm>
        </p:spPr>
        <p:txBody>
          <a:bodyPr/>
          <a:lstStyle/>
          <a:p>
            <a:r>
              <a:rPr lang="en-US"/>
              <a:t>August 2018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0081D25-3A0E-4D68-8C16-F79D69575F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74717"/>
            <a:ext cx="4114800" cy="262815"/>
          </a:xfrm>
        </p:spPr>
        <p:txBody>
          <a:bodyPr/>
          <a:lstStyle/>
          <a:p>
            <a:r>
              <a:rPr lang="en-US"/>
              <a:t>Cambridge Community Development Department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7654A6C-2F0D-4FF6-B62E-2B662961CB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574717"/>
            <a:ext cx="2743200" cy="262815"/>
          </a:xfrm>
        </p:spPr>
        <p:txBody>
          <a:bodyPr/>
          <a:lstStyle/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4477953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8746650-A96D-42FA-A0C6-6AECA7083A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A1C1B9-7BAB-49D6-98F0-C5355C03E1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EA48AD-B664-4C5B-8182-8863757906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31D46E-8675-4733-9B58-8FB7D620D7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D319C5-E358-4E84-AC7C-CEFFACB1A4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0956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</p:sldLayoutIdLst>
  <p:transition/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13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sv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7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sv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10" Type="http://schemas.openxmlformats.org/officeDocument/2006/relationships/image" Target="../media/image11.svg"/><Relationship Id="rId4" Type="http://schemas.openxmlformats.org/officeDocument/2006/relationships/image" Target="../media/image5.svg"/><Relationship Id="rId9" Type="http://schemas.openxmlformats.org/officeDocument/2006/relationships/image" Target="../media/image10.png"/><Relationship Id="rId14" Type="http://schemas.openxmlformats.org/officeDocument/2006/relationships/image" Target="../media/image15.sv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hyperlink" Target="https://bit.ly/FFFupdates" TargetMode="Externa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22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hyperlink" Target="https://bit.ly/FFFupdates" TargetMode="Externa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4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27CC345D-F1D6-4C2C-A33C-0C48F59A7642}"/>
              </a:ext>
            </a:extLst>
          </p:cNvPr>
          <p:cNvSpPr txBox="1"/>
          <p:nvPr/>
        </p:nvSpPr>
        <p:spPr>
          <a:xfrm>
            <a:off x="557152" y="1167942"/>
            <a:ext cx="5719010" cy="83099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2400" b="1" i="0" u="none" strike="noStrike" kern="1200" cap="none" spc="0" normalizeH="0" baseline="0" noProof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ommunity Development Department de la Ciudad de Cambridge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C326D269-7F41-4E44-8A13-AE1B695E8677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557152" y="2671024"/>
            <a:ext cx="6226626" cy="1754326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3600" b="1" i="0" u="none" strike="noStrike" kern="1200" cap="none" spc="0" normalizeH="0" baseline="0" noProof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Visión general: Programa de manifestación contra el uso de combustibles fósiles en las edificacion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5B90E77-7E96-13CD-A0C5-93F1CBBC75ED}"/>
              </a:ext>
            </a:extLst>
          </p:cNvPr>
          <p:cNvSpPr txBox="1"/>
          <p:nvPr/>
        </p:nvSpPr>
        <p:spPr>
          <a:xfrm>
            <a:off x="4278086" y="4936772"/>
            <a:ext cx="1998076" cy="46166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2400" b="0" i="0" u="none" strike="noStrike" kern="1200" cap="none" spc="0" normalizeH="0" baseline="0" noProof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io de 2023</a:t>
            </a:r>
          </a:p>
        </p:txBody>
      </p:sp>
      <p:pic>
        <p:nvPicPr>
          <p:cNvPr id="21" name="Picture 20" descr="Aerial view of Cambridge">
            <a:extLst>
              <a:ext uri="{FF2B5EF4-FFF2-40B4-BE49-F238E27FC236}">
                <a16:creationId xmlns:a16="http://schemas.microsoft.com/office/drawing/2014/main" id="{210CE73C-95C7-4522-A7BB-41FC50781EF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78"/>
          <a:stretch>
            <a:fillRect/>
          </a:stretch>
        </p:blipFill>
        <p:spPr>
          <a:xfrm>
            <a:off x="7259977" y="296562"/>
            <a:ext cx="4595625" cy="6095505"/>
          </a:xfrm>
          <a:prstGeom prst="rect">
            <a:avLst/>
          </a:prstGeom>
        </p:spPr>
      </p:pic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89AD31A0-C17E-4210-9A60-6FA60B458B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udad de Cambridge – Community Development Department</a:t>
            </a:r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657495C8-2988-4E6E-B88D-A8BC79E12F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io de 2023              1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Picture 3" descr="CDD logo">
            <a:extLst>
              <a:ext uri="{FF2B5EF4-FFF2-40B4-BE49-F238E27FC236}">
                <a16:creationId xmlns:a16="http://schemas.microsoft.com/office/drawing/2014/main" id="{6D811143-9518-4082-8E3D-458C3A92020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7285" y="5559056"/>
            <a:ext cx="723630" cy="723630"/>
          </a:xfrm>
          <a:prstGeom prst="rect">
            <a:avLst/>
          </a:prstGeom>
        </p:spPr>
      </p:pic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D9793570-47BE-49A6-A6D0-DC7D984EFE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236917" y="68944"/>
            <a:ext cx="5924603" cy="6585938"/>
          </a:xfrm>
          <a:custGeom>
            <a:avLst/>
            <a:gdLst>
              <a:gd name="connsiteX0" fmla="*/ 37830 w 5924603"/>
              <a:gd name="connsiteY0" fmla="*/ 1331839 h 6585938"/>
              <a:gd name="connsiteX1" fmla="*/ 5772203 w 5924603"/>
              <a:gd name="connsiteY1" fmla="*/ 1331839 h 6585938"/>
              <a:gd name="connsiteX2" fmla="*/ 5772203 w 5924603"/>
              <a:gd name="connsiteY2" fmla="*/ 1500371 h 6585938"/>
              <a:gd name="connsiteX3" fmla="*/ 1113294 w 5924603"/>
              <a:gd name="connsiteY3" fmla="*/ 1500371 h 6585938"/>
              <a:gd name="connsiteX4" fmla="*/ 1113294 w 5924603"/>
              <a:gd name="connsiteY4" fmla="*/ 2671644 h 6585938"/>
              <a:gd name="connsiteX5" fmla="*/ 5924603 w 5924603"/>
              <a:gd name="connsiteY5" fmla="*/ 2671644 h 6585938"/>
              <a:gd name="connsiteX6" fmla="*/ 5924603 w 5924603"/>
              <a:gd name="connsiteY6" fmla="*/ 2840177 h 6585938"/>
              <a:gd name="connsiteX7" fmla="*/ 1627158 w 5924603"/>
              <a:gd name="connsiteY7" fmla="*/ 2840177 h 6585938"/>
              <a:gd name="connsiteX8" fmla="*/ 1627158 w 5924603"/>
              <a:gd name="connsiteY8" fmla="*/ 3918462 h 6585938"/>
              <a:gd name="connsiteX9" fmla="*/ 5891023 w 5924603"/>
              <a:gd name="connsiteY9" fmla="*/ 3918462 h 6585938"/>
              <a:gd name="connsiteX10" fmla="*/ 5891023 w 5924603"/>
              <a:gd name="connsiteY10" fmla="*/ 4086995 h 6585938"/>
              <a:gd name="connsiteX11" fmla="*/ 2019972 w 5924603"/>
              <a:gd name="connsiteY11" fmla="*/ 4086995 h 6585938"/>
              <a:gd name="connsiteX12" fmla="*/ 2019972 w 5924603"/>
              <a:gd name="connsiteY12" fmla="*/ 5194502 h 6585938"/>
              <a:gd name="connsiteX13" fmla="*/ 5891022 w 5924603"/>
              <a:gd name="connsiteY13" fmla="*/ 5194502 h 6585938"/>
              <a:gd name="connsiteX14" fmla="*/ 5891022 w 5924603"/>
              <a:gd name="connsiteY14" fmla="*/ 5363035 h 6585938"/>
              <a:gd name="connsiteX15" fmla="*/ 2487126 w 5924603"/>
              <a:gd name="connsiteY15" fmla="*/ 5363035 h 6585938"/>
              <a:gd name="connsiteX16" fmla="*/ 2487126 w 5924603"/>
              <a:gd name="connsiteY16" fmla="*/ 6585938 h 6585938"/>
              <a:gd name="connsiteX17" fmla="*/ 0 w 5924603"/>
              <a:gd name="connsiteY17" fmla="*/ 6585938 h 6585938"/>
              <a:gd name="connsiteX18" fmla="*/ 0 w 5924603"/>
              <a:gd name="connsiteY18" fmla="*/ 5328384 h 6585938"/>
              <a:gd name="connsiteX19" fmla="*/ 156649 w 5924603"/>
              <a:gd name="connsiteY19" fmla="*/ 5328384 h 6585938"/>
              <a:gd name="connsiteX20" fmla="*/ 156649 w 5924603"/>
              <a:gd name="connsiteY20" fmla="*/ 5260282 h 6585938"/>
              <a:gd name="connsiteX21" fmla="*/ 123072 w 5924603"/>
              <a:gd name="connsiteY21" fmla="*/ 5260282 h 6585938"/>
              <a:gd name="connsiteX22" fmla="*/ 123072 w 5924603"/>
              <a:gd name="connsiteY22" fmla="*/ 4002728 h 6585938"/>
              <a:gd name="connsiteX23" fmla="*/ 156650 w 5924603"/>
              <a:gd name="connsiteY23" fmla="*/ 4002728 h 6585938"/>
              <a:gd name="connsiteX24" fmla="*/ 156650 w 5924603"/>
              <a:gd name="connsiteY24" fmla="*/ 3918462 h 6585938"/>
              <a:gd name="connsiteX25" fmla="*/ 237641 w 5924603"/>
              <a:gd name="connsiteY25" fmla="*/ 3918462 h 6585938"/>
              <a:gd name="connsiteX26" fmla="*/ 237641 w 5924603"/>
              <a:gd name="connsiteY26" fmla="*/ 2840177 h 6585938"/>
              <a:gd name="connsiteX27" fmla="*/ 190230 w 5924603"/>
              <a:gd name="connsiteY27" fmla="*/ 2840177 h 6585938"/>
              <a:gd name="connsiteX28" fmla="*/ 190230 w 5924603"/>
              <a:gd name="connsiteY28" fmla="*/ 2698988 h 6585938"/>
              <a:gd name="connsiteX29" fmla="*/ 67159 w 5924603"/>
              <a:gd name="connsiteY29" fmla="*/ 2698988 h 6585938"/>
              <a:gd name="connsiteX30" fmla="*/ 67159 w 5924603"/>
              <a:gd name="connsiteY30" fmla="*/ 1500371 h 6585938"/>
              <a:gd name="connsiteX31" fmla="*/ 37830 w 5924603"/>
              <a:gd name="connsiteY31" fmla="*/ 1500371 h 6585938"/>
              <a:gd name="connsiteX32" fmla="*/ 37829 w 5924603"/>
              <a:gd name="connsiteY32" fmla="*/ 0 h 6585938"/>
              <a:gd name="connsiteX33" fmla="*/ 5772202 w 5924603"/>
              <a:gd name="connsiteY33" fmla="*/ 0 h 6585938"/>
              <a:gd name="connsiteX34" fmla="*/ 5772202 w 5924603"/>
              <a:gd name="connsiteY34" fmla="*/ 224331 h 6585938"/>
              <a:gd name="connsiteX35" fmla="*/ 37829 w 5924603"/>
              <a:gd name="connsiteY35" fmla="*/ 224331 h 6585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924603" h="6585938">
                <a:moveTo>
                  <a:pt x="37830" y="1331839"/>
                </a:moveTo>
                <a:lnTo>
                  <a:pt x="5772203" y="1331839"/>
                </a:lnTo>
                <a:lnTo>
                  <a:pt x="5772203" y="1500371"/>
                </a:lnTo>
                <a:lnTo>
                  <a:pt x="1113294" y="1500371"/>
                </a:lnTo>
                <a:lnTo>
                  <a:pt x="1113294" y="2671644"/>
                </a:lnTo>
                <a:lnTo>
                  <a:pt x="5924603" y="2671644"/>
                </a:lnTo>
                <a:lnTo>
                  <a:pt x="5924603" y="2840177"/>
                </a:lnTo>
                <a:lnTo>
                  <a:pt x="1627158" y="2840177"/>
                </a:lnTo>
                <a:lnTo>
                  <a:pt x="1627158" y="3918462"/>
                </a:lnTo>
                <a:lnTo>
                  <a:pt x="5891023" y="3918462"/>
                </a:lnTo>
                <a:lnTo>
                  <a:pt x="5891023" y="4086995"/>
                </a:lnTo>
                <a:lnTo>
                  <a:pt x="2019972" y="4086995"/>
                </a:lnTo>
                <a:lnTo>
                  <a:pt x="2019972" y="5194502"/>
                </a:lnTo>
                <a:lnTo>
                  <a:pt x="5891022" y="5194502"/>
                </a:lnTo>
                <a:lnTo>
                  <a:pt x="5891022" y="5363035"/>
                </a:lnTo>
                <a:lnTo>
                  <a:pt x="2487126" y="5363035"/>
                </a:lnTo>
                <a:lnTo>
                  <a:pt x="2487126" y="6585938"/>
                </a:lnTo>
                <a:lnTo>
                  <a:pt x="0" y="6585938"/>
                </a:lnTo>
                <a:lnTo>
                  <a:pt x="0" y="5328384"/>
                </a:lnTo>
                <a:lnTo>
                  <a:pt x="156649" y="5328384"/>
                </a:lnTo>
                <a:lnTo>
                  <a:pt x="156649" y="5260282"/>
                </a:lnTo>
                <a:lnTo>
                  <a:pt x="123072" y="5260282"/>
                </a:lnTo>
                <a:lnTo>
                  <a:pt x="123072" y="4002728"/>
                </a:lnTo>
                <a:lnTo>
                  <a:pt x="156650" y="4002728"/>
                </a:lnTo>
                <a:lnTo>
                  <a:pt x="156650" y="3918462"/>
                </a:lnTo>
                <a:lnTo>
                  <a:pt x="237641" y="3918462"/>
                </a:lnTo>
                <a:lnTo>
                  <a:pt x="237641" y="2840177"/>
                </a:lnTo>
                <a:lnTo>
                  <a:pt x="190230" y="2840177"/>
                </a:lnTo>
                <a:lnTo>
                  <a:pt x="190230" y="2698988"/>
                </a:lnTo>
                <a:lnTo>
                  <a:pt x="67159" y="2698988"/>
                </a:lnTo>
                <a:lnTo>
                  <a:pt x="67159" y="1500371"/>
                </a:lnTo>
                <a:lnTo>
                  <a:pt x="37830" y="1500371"/>
                </a:lnTo>
                <a:close/>
                <a:moveTo>
                  <a:pt x="37829" y="0"/>
                </a:moveTo>
                <a:lnTo>
                  <a:pt x="5772202" y="0"/>
                </a:lnTo>
                <a:lnTo>
                  <a:pt x="5772202" y="224331"/>
                </a:lnTo>
                <a:lnTo>
                  <a:pt x="37829" y="22433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" name="Picture 5" descr="City seal">
            <a:extLst>
              <a:ext uri="{FF2B5EF4-FFF2-40B4-BE49-F238E27FC236}">
                <a16:creationId xmlns:a16="http://schemas.microsoft.com/office/drawing/2014/main" id="{26674E0B-912D-4C98-8001-D49400E18B3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720" y="5516552"/>
            <a:ext cx="812134" cy="812134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1F86F2B-DD5A-C2FE-BD8E-43810D315F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948984" y="296562"/>
            <a:ext cx="189823" cy="52624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3482831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es-US" sz="28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l Plan de acción Cero emisiones netas incluye medidas para reducir las emisiones de las edificaciones nuevas y existentes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0" name="Picture 49" descr="Net Zero Action Plan">
            <a:extLst>
              <a:ext uri="{FF2B5EF4-FFF2-40B4-BE49-F238E27FC236}">
                <a16:creationId xmlns:a16="http://schemas.microsoft.com/office/drawing/2014/main" id="{A1F8D0D6-16E7-918C-6278-B9522CE6D9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9433" y="1679386"/>
            <a:ext cx="8693133" cy="4895331"/>
          </a:xfrm>
          <a:prstGeom prst="rect">
            <a:avLst/>
          </a:prstGeom>
        </p:spPr>
      </p:pic>
      <p:sp>
        <p:nvSpPr>
          <p:cNvPr id="3" name="Rectangle 2" descr="Highlight around Action 2.1">
            <a:extLst>
              <a:ext uri="{FF2B5EF4-FFF2-40B4-BE49-F238E27FC236}">
                <a16:creationId xmlns:a16="http://schemas.microsoft.com/office/drawing/2014/main" id="{226BD9C4-BF15-34A4-D236-D02E4550FE5C}"/>
              </a:ext>
            </a:extLst>
          </p:cNvPr>
          <p:cNvSpPr/>
          <p:nvPr/>
        </p:nvSpPr>
        <p:spPr>
          <a:xfrm>
            <a:off x="5492380" y="2728468"/>
            <a:ext cx="1097280" cy="1049082"/>
          </a:xfrm>
          <a:prstGeom prst="rect">
            <a:avLst/>
          </a:prstGeom>
          <a:noFill/>
          <a:ln w="762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30C229C-2B06-2587-56A4-5343598C7417}"/>
              </a:ext>
            </a:extLst>
          </p:cNvPr>
          <p:cNvSpPr txBox="1"/>
          <p:nvPr/>
        </p:nvSpPr>
        <p:spPr>
          <a:xfrm>
            <a:off x="6699621" y="2688134"/>
            <a:ext cx="5368391" cy="3662541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txBody>
          <a:bodyPr wrap="square" rtlCol="0">
            <a:noAutofit/>
          </a:bodyPr>
          <a:lstStyle/>
          <a:p>
            <a:pPr rtl="0"/>
            <a:r>
              <a:rPr lang="es-US" b="1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La acción 2.1 </a:t>
            </a:r>
            <a:r>
              <a:rPr lang="es-US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exige que las edificaciones nuevas sean de consumo cero neto desde el principio, lo que significa que:</a:t>
            </a:r>
            <a:br>
              <a:rPr lang="es-US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dirty="0"/>
          </a:p>
          <a:p>
            <a:pPr marL="285750" indent="-285750" rtl="0">
              <a:buFont typeface="Arial" panose="020B0604020202020204" pitchFamily="34" charset="0"/>
              <a:buChar char="•"/>
            </a:pPr>
            <a:r>
              <a:rPr lang="es-US" sz="16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Cambridge debería abogar por códigos estatales de cero emisiones netas, ya que Massachusetts establece los códigos de construcción;</a:t>
            </a:r>
          </a:p>
          <a:p>
            <a:pPr marL="285750" indent="-285750" rtl="0">
              <a:buFont typeface="Arial" panose="020B0604020202020204" pitchFamily="34" charset="0"/>
              <a:buChar char="•"/>
            </a:pPr>
            <a:r>
              <a:rPr lang="es-US" sz="16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se adoptará el código en cuanto el Estado lo permita;</a:t>
            </a:r>
          </a:p>
          <a:p>
            <a:pPr marL="285750" indent="-285750" rtl="0">
              <a:buFont typeface="Arial" panose="020B0604020202020204" pitchFamily="34" charset="0"/>
              <a:buChar char="•"/>
            </a:pPr>
            <a:r>
              <a:rPr lang="es-US" sz="16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se eliminarán las vías de acceso a los combustibles fósiles en las edificaciones nuevas: es la mejor ocasión para conseguir la electrificación total de los edificios;</a:t>
            </a:r>
          </a:p>
          <a:p>
            <a:pPr marL="285750" indent="-285750" rtl="0">
              <a:buFont typeface="Arial" panose="020B0604020202020204" pitchFamily="34" charset="0"/>
              <a:buChar char="•"/>
            </a:pPr>
            <a:r>
              <a:rPr lang="es-US" sz="16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se supervisarán los resultados.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udad de Cambridge –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io de 2023              10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3531974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8" y="664739"/>
            <a:ext cx="11036983" cy="1049082"/>
          </a:xfrm>
        </p:spPr>
        <p:txBody>
          <a:bodyPr>
            <a:noAutofit/>
          </a:bodyPr>
          <a:lstStyle/>
          <a:p>
            <a:pPr rtl="0"/>
            <a:r>
              <a:rPr lang="es-US" sz="32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assachusetts ha identificado políticas y programas para llegar a cero emisiones netas en 2050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4"/>
            <a:ext cx="6323077" cy="4771843"/>
          </a:xfrm>
        </p:spPr>
        <p:txBody>
          <a:bodyPr>
            <a:noAutofit/>
          </a:bodyPr>
          <a:lstStyle/>
          <a:p>
            <a:pPr rtl="0">
              <a:spcBef>
                <a:spcPts val="600"/>
              </a:spcBef>
            </a:pPr>
            <a: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 partir del Plan estatal de descarbonización:</a:t>
            </a:r>
          </a:p>
          <a:p>
            <a:pPr lvl="1" rtl="0">
              <a:spcBef>
                <a:spcPts val="600"/>
              </a:spcBef>
            </a:pPr>
            <a:r>
              <a:rPr lang="es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“Las edificaciones nuevas son las formas más fáciles y atractivas, desde el punto de vista económico, de empezar a descarbonizar el sector de los edificios…” </a:t>
            </a:r>
          </a:p>
          <a:p>
            <a:pPr lvl="1" rtl="0">
              <a:spcBef>
                <a:spcPts val="600"/>
              </a:spcBef>
            </a:pPr>
            <a:r>
              <a:rPr lang="es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“Casi todos los edificios nuevos pueden adoptar de forma rentable un diseño eléctrico eficiente que aumente el confort de los ocupantes y resulte rentable…”</a:t>
            </a:r>
          </a:p>
          <a:p>
            <a:pPr rtl="0">
              <a:spcBef>
                <a:spcPts val="600"/>
              </a:spcBef>
            </a:pPr>
            <a: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assachusetts creó el código especializado de construcción </a:t>
            </a:r>
            <a:r>
              <a:rPr lang="es-US"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Specialized</a:t>
            </a:r>
            <a: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lang="es-US"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Stretch</a:t>
            </a:r>
            <a: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lang="es-US"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ode</a:t>
            </a:r>
            <a: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.</a:t>
            </a:r>
          </a:p>
          <a:p>
            <a:pPr lvl="1" rtl="0">
              <a:spcBef>
                <a:spcPts val="600"/>
              </a:spcBef>
            </a:pPr>
            <a:r>
              <a:rPr lang="es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stablece estándares altos de rendimiento, pero igual permite construir edificios nuevos con combustibles fósiles.</a:t>
            </a:r>
          </a:p>
          <a:p>
            <a:pPr lvl="1" rtl="0">
              <a:spcBef>
                <a:spcPts val="600"/>
              </a:spcBef>
            </a:pPr>
            <a:r>
              <a:rPr lang="es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mbridge adoptó el código en enero de 2023</a:t>
            </a:r>
          </a:p>
          <a:p>
            <a:pPr>
              <a:spcBef>
                <a:spcPts val="600"/>
              </a:spcBef>
            </a:pPr>
            <a:endParaRPr lang="en-US" sz="24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sz="2400" u="sng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udad de Cambridge –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io de 2023              11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26" name="Picture 2" descr="MA 2050 Decarbonization Roadmap Cover Page">
            <a:extLst>
              <a:ext uri="{FF2B5EF4-FFF2-40B4-BE49-F238E27FC236}">
                <a16:creationId xmlns:a16="http://schemas.microsoft.com/office/drawing/2014/main" id="{5E38471F-BB1F-4440-80BD-5B45E606BA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34359" y="1677724"/>
            <a:ext cx="3333750" cy="4305300"/>
          </a:xfrm>
          <a:prstGeom prst="rect">
            <a:avLst/>
          </a:prstGeom>
          <a:noFill/>
          <a:ln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8493111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8" y="789183"/>
            <a:ext cx="11036983" cy="1049082"/>
          </a:xfrm>
        </p:spPr>
        <p:txBody>
          <a:bodyPr>
            <a:noAutofit/>
          </a:bodyPr>
          <a:lstStyle/>
          <a:p>
            <a:pPr rtl="0"/>
            <a:r>
              <a:rPr lang="es-US" sz="28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umplir nuestros objetivos climáticos implica eliminar progresivamente los combustibles fósiles en las edificaciones nuevas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2036063"/>
            <a:ext cx="5372102" cy="4413503"/>
          </a:xfrm>
        </p:spPr>
        <p:txBody>
          <a:bodyPr>
            <a:noAutofit/>
          </a:bodyPr>
          <a:lstStyle/>
          <a:p>
            <a:pPr marL="0" lvl="1" indent="0" rtl="0">
              <a:spcBef>
                <a:spcPts val="600"/>
              </a:spcBef>
              <a:buNone/>
            </a:pPr>
            <a: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sto significa que los edificios nuevos se construyen sin sistemas de combustibles fósiles como calderas o calentadores de agua que funcionan con gas.</a:t>
            </a:r>
          </a:p>
          <a:p>
            <a:pPr marL="342900" lvl="1" indent="-342900" rtl="0">
              <a:spcBef>
                <a:spcPts val="600"/>
              </a:spcBef>
            </a:pPr>
            <a: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Hace referencia al gas, el petróleo y otros combustibles fósiles.</a:t>
            </a:r>
          </a:p>
          <a:p>
            <a:pPr marL="0" lvl="1" indent="0">
              <a:spcBef>
                <a:spcPts val="600"/>
              </a:spcBef>
              <a:buNone/>
            </a:pP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lvl="1" indent="0" rtl="0">
              <a:spcBef>
                <a:spcPts val="600"/>
              </a:spcBef>
              <a:buNone/>
            </a:pPr>
            <a: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Otras ciudades y estados comprometidos con el clima adoptaron medidas para evitar la emisión de gases contaminantes en los edificios nuevos.</a:t>
            </a:r>
          </a:p>
          <a:p>
            <a:pPr marL="0" lvl="1" indent="0">
              <a:spcBef>
                <a:spcPts val="600"/>
              </a:spcBef>
              <a:buNone/>
            </a:pP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>
              <a:spcBef>
                <a:spcPts val="600"/>
              </a:spcBef>
            </a:pP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u="sng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7" name="Picture 16" descr="New York fossil fuel ban article">
            <a:extLst>
              <a:ext uri="{FF2B5EF4-FFF2-40B4-BE49-F238E27FC236}">
                <a16:creationId xmlns:a16="http://schemas.microsoft.com/office/drawing/2014/main" id="{3C681B0C-2B64-6E7B-C0E0-5ADEFA510B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84490" y="1709495"/>
            <a:ext cx="2940322" cy="4614672"/>
          </a:xfrm>
          <a:prstGeom prst="rect">
            <a:avLst/>
          </a:prstGeom>
          <a:ln>
            <a:solidFill>
              <a:schemeClr val="accent6"/>
            </a:solidFill>
          </a:ln>
        </p:spPr>
      </p:pic>
      <p:pic>
        <p:nvPicPr>
          <p:cNvPr id="21" name="Picture 20" descr="San Jose fossil fuel ban">
            <a:extLst>
              <a:ext uri="{FF2B5EF4-FFF2-40B4-BE49-F238E27FC236}">
                <a16:creationId xmlns:a16="http://schemas.microsoft.com/office/drawing/2014/main" id="{B280E497-EB8D-C881-CA0B-61D000E7ED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31773" y="2580061"/>
            <a:ext cx="4010568" cy="4277939"/>
          </a:xfrm>
          <a:prstGeom prst="rect">
            <a:avLst/>
          </a:prstGeom>
          <a:ln>
            <a:solidFill>
              <a:schemeClr val="bg2"/>
            </a:solidFill>
          </a:ln>
        </p:spPr>
      </p:pic>
      <p:pic>
        <p:nvPicPr>
          <p:cNvPr id="18" name="Picture 17" descr="DC fossil fuel ban article">
            <a:extLst>
              <a:ext uri="{FF2B5EF4-FFF2-40B4-BE49-F238E27FC236}">
                <a16:creationId xmlns:a16="http://schemas.microsoft.com/office/drawing/2014/main" id="{75153018-04CD-37B5-8939-34730B5E95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96348" y="1838265"/>
            <a:ext cx="3300226" cy="4548960"/>
          </a:xfrm>
          <a:prstGeom prst="rect">
            <a:avLst/>
          </a:prstGeom>
          <a:ln>
            <a:solidFill>
              <a:schemeClr val="accent6"/>
            </a:solidFill>
          </a:ln>
        </p:spPr>
      </p:pic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udad de Cambridge –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io de 2023              12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6964873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045" y="788424"/>
            <a:ext cx="11036983" cy="1049082"/>
          </a:xfrm>
        </p:spPr>
        <p:txBody>
          <a:bodyPr>
            <a:noAutofit/>
          </a:bodyPr>
          <a:lstStyle/>
          <a:p>
            <a:pPr rtl="0"/>
            <a:r>
              <a:rPr lang="es-US" sz="32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Los constructores deben instalar sistemas limpios y totalmente eléctricos. 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9" y="1837506"/>
            <a:ext cx="5469638" cy="4612061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La ausencia de combustibles fósiles significa que los edificios nuevos deben construirse con sistemas como bombas de calor y calentadores de agua con bomba de calor.</a:t>
            </a:r>
          </a:p>
          <a:p>
            <a:pPr marL="0" indent="0">
              <a:spcBef>
                <a:spcPts val="600"/>
              </a:spcBef>
              <a:buNone/>
            </a:pPr>
            <a:endParaRPr lang="en-US" sz="24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Los beneficios del aire limpio y la calidad del aire interior son evidentes.</a:t>
            </a:r>
          </a:p>
          <a:p>
            <a:pPr marL="0" indent="0">
              <a:spcBef>
                <a:spcPts val="600"/>
              </a:spcBef>
              <a:buNone/>
            </a:pPr>
            <a:endParaRPr lang="en-US" sz="24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sto también evita que los responsables de la construcción de edificios nuevos instalen infraestructuras de gas que posteriormente tendrían que quitar.</a:t>
            </a:r>
          </a:p>
          <a:p>
            <a:pPr>
              <a:spcBef>
                <a:spcPts val="600"/>
              </a:spcBef>
            </a:pPr>
            <a:endParaRPr lang="en-US" sz="24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sz="2400" u="sng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udad de Cambridge –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io de 2023              13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Picture 3" descr="What is a Clean Energy Home webpage from MassCEC">
            <a:extLst>
              <a:ext uri="{FF2B5EF4-FFF2-40B4-BE49-F238E27FC236}">
                <a16:creationId xmlns:a16="http://schemas.microsoft.com/office/drawing/2014/main" id="{C61A5505-5E8C-9D22-F113-0E5BDDA7B5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08970" y="1852444"/>
            <a:ext cx="4487625" cy="354787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7" name="Picture 6" descr="Gas appliances pollute indoor and outdoor air">
            <a:extLst>
              <a:ext uri="{FF2B5EF4-FFF2-40B4-BE49-F238E27FC236}">
                <a16:creationId xmlns:a16="http://schemas.microsoft.com/office/drawing/2014/main" id="{F80A9202-A2C5-9E92-EBB6-2C4A9CFED7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42481" y="3429000"/>
            <a:ext cx="3469547" cy="2807475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745514758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es-US" sz="44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5188" y="1713821"/>
            <a:ext cx="10744203" cy="4472144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es-US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ontexto:</a:t>
            </a:r>
          </a:p>
          <a:p>
            <a:pPr lvl="1" rtl="0">
              <a:spcBef>
                <a:spcPts val="600"/>
              </a:spcBef>
            </a:pPr>
            <a:r>
              <a:rPr lang="es-US" sz="20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edidas de Cambridge para abordar el cambio climático</a:t>
            </a:r>
            <a:br>
              <a:rPr lang="es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0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Normativa nueva:</a:t>
            </a:r>
          </a:p>
          <a:p>
            <a:pPr lvl="1" rtl="0">
              <a:spcBef>
                <a:spcPts val="600"/>
              </a:spcBef>
            </a:pPr>
            <a:r>
              <a:rPr lang="es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rograma de Massachusetts de manifestación contra el uso de combustibles fósiles.</a:t>
            </a:r>
            <a:br>
              <a:rPr lang="es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0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es-US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Requisitos propuestos:</a:t>
            </a:r>
          </a:p>
          <a:p>
            <a:pPr lvl="1" rtl="0">
              <a:spcBef>
                <a:spcPts val="600"/>
              </a:spcBef>
            </a:pPr>
            <a:r>
              <a:rPr lang="es-US" sz="20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liminar el uso de combustibles fósiles en edificaciones nuevas y obras importantes de renovación.</a:t>
            </a:r>
            <a:br>
              <a:rPr lang="es-US" sz="20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000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es-US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ronograma y próximos pasos para la aprobación de la normativa.</a:t>
            </a:r>
            <a:br>
              <a:rPr lang="es-US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400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es-US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reguntas y respuestas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udad de Cambridge –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io de 2023              14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7574285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82324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es-US" sz="32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assachusetts creó un Programa de manifestación contra el uso de combustibles fósiles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922093"/>
            <a:ext cx="10744203" cy="4227775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La legislación de Massachusetts autorizó a 10 comunidades a establecer requisitos de </a:t>
            </a:r>
            <a:r>
              <a:rPr lang="es-US" sz="2400" b="1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liminación de combustibles fósiles</a:t>
            </a:r>
            <a: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en las edificaciones nuevas y en renovaciones significativas.</a:t>
            </a:r>
          </a:p>
          <a:p>
            <a:pPr lvl="1" rtl="0">
              <a:spcBef>
                <a:spcPts val="600"/>
              </a:spcBef>
            </a:pPr>
            <a:r>
              <a:rPr lang="es-US" sz="2000" b="0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sto forma </a:t>
            </a:r>
            <a:r>
              <a:rPr lang="es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arte de una </a:t>
            </a:r>
            <a:r>
              <a:rPr lang="es-US" sz="2000" b="0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ley conocida como </a:t>
            </a:r>
            <a:r>
              <a:rPr lang="es-US" sz="2000" b="0" i="1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ct</a:t>
            </a:r>
            <a:r>
              <a:rPr lang="es-US" sz="2000" b="0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lang="es-US" sz="2000" b="0" i="1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Driving</a:t>
            </a:r>
            <a:r>
              <a:rPr lang="es-US" sz="2000" b="0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lang="es-US" sz="2000" b="0" i="1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lean</a:t>
            </a:r>
            <a:r>
              <a:rPr lang="es-US" sz="2000" b="0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Energy and Offshore </a:t>
            </a:r>
            <a:r>
              <a:rPr lang="es-US" sz="2000" b="0" i="1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Wind</a:t>
            </a:r>
            <a:r>
              <a:rPr lang="es-US" sz="2000" b="0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(Ley de Fomento de la Energía Limpia y Energía Eólica Marina) </a:t>
            </a:r>
            <a:r>
              <a:rPr lang="es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(2022).</a:t>
            </a:r>
          </a:p>
          <a:p>
            <a:pPr>
              <a:spcBef>
                <a:spcPts val="600"/>
              </a:spcBef>
            </a:pPr>
            <a:endParaRPr lang="en-US" sz="24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l Department of Energy </a:t>
            </a:r>
            <a:r>
              <a:rPr lang="es-US"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Resources</a:t>
            </a:r>
            <a: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(Departamento de Recursos Energéticos [DOER]) de Massachusetts elaboró una normativa y una propuesta de ordenanza (‘norma modelo’).</a:t>
            </a:r>
          </a:p>
          <a:p>
            <a:pPr lvl="1" rtl="0">
              <a:spcBef>
                <a:spcPts val="600"/>
              </a:spcBef>
            </a:pPr>
            <a:r>
              <a:rPr lang="es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ste invierno, la ciudad de Cambridge hizo su contribución al DOER en la elaboración de la normativa.</a:t>
            </a:r>
          </a:p>
          <a:p>
            <a:pPr lvl="1" rtl="0">
              <a:spcBef>
                <a:spcPts val="600"/>
              </a:spcBef>
            </a:pPr>
            <a:r>
              <a:rPr lang="es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La normativa definitiva se envió a la legislatura en mayo.</a:t>
            </a:r>
          </a:p>
          <a:p>
            <a:pPr marL="0" indent="0">
              <a:spcBef>
                <a:spcPts val="600"/>
              </a:spcBef>
              <a:buNone/>
            </a:pPr>
            <a:endParaRPr lang="en-US" sz="2400" u="sng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udad de Cambridge –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io de 2023              15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3159585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880736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es-US" sz="40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Se autorizó a Cambridge a participar en el Programa de manifestación de Massachusetts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2037067"/>
            <a:ext cx="5059063" cy="4112801"/>
          </a:xfrm>
        </p:spPr>
        <p:txBody>
          <a:bodyPr>
            <a:noAutofit/>
          </a:bodyPr>
          <a:lstStyle/>
          <a:p>
            <a:pPr marL="0" indent="0" rtl="0">
              <a:spcBef>
                <a:spcPts val="1800"/>
              </a:spcBef>
              <a:buNone/>
            </a:pPr>
            <a:r>
              <a:rPr lang="es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mbridge presentó una petición de autonomía solicitando esta autorización en abril de 2022, por lo que somos una Comunidad Prioritaria.</a:t>
            </a:r>
          </a:p>
          <a:p>
            <a:pPr marL="0" indent="0" rtl="0">
              <a:spcBef>
                <a:spcPts val="1800"/>
              </a:spcBef>
              <a:buNone/>
            </a:pPr>
            <a:r>
              <a:rPr lang="es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Una ciudad o pueblo debe cumplir con el requisito de un 10 % de viviendas asequibles o de zonificación multifamiliar de las comunidades de la MBTA.</a:t>
            </a:r>
          </a:p>
          <a:p>
            <a:pPr rtl="0">
              <a:spcBef>
                <a:spcPts val="1800"/>
              </a:spcBef>
            </a:pPr>
            <a:r>
              <a:rPr lang="es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Si una Comunidad Prioritaria se da de baja, el DOER podrá seleccionar una comunidad sustituta. Somerville y Boston votaron a favor de presentar peticiones de autonomía.</a:t>
            </a:r>
          </a:p>
          <a:p>
            <a:pPr>
              <a:spcBef>
                <a:spcPts val="600"/>
              </a:spcBef>
            </a:pPr>
            <a:endParaRPr lang="en-US" sz="20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sz="2000" u="sng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udad de Cambridge –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io de 2023              16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Picture 3" descr="List of 10 communities that are selected">
            <a:extLst>
              <a:ext uri="{FF2B5EF4-FFF2-40B4-BE49-F238E27FC236}">
                <a16:creationId xmlns:a16="http://schemas.microsoft.com/office/drawing/2014/main" id="{99A41550-23C3-5D52-D831-E73DEE9926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2037067"/>
            <a:ext cx="5698913" cy="3153767"/>
          </a:xfrm>
          <a:prstGeom prst="rect">
            <a:avLst/>
          </a:prstGeom>
        </p:spPr>
      </p:pic>
      <p:sp>
        <p:nvSpPr>
          <p:cNvPr id="7" name="Arrow: Left 6">
            <a:extLst>
              <a:ext uri="{FF2B5EF4-FFF2-40B4-BE49-F238E27FC236}">
                <a16:creationId xmlns:a16="http://schemas.microsoft.com/office/drawing/2014/main" id="{97C953B7-6F41-0F4A-2431-0C481CDC43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9671" y="2670536"/>
            <a:ext cx="375242" cy="234298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Arrow: Left 10">
            <a:extLst>
              <a:ext uri="{FF2B5EF4-FFF2-40B4-BE49-F238E27FC236}">
                <a16:creationId xmlns:a16="http://schemas.microsoft.com/office/drawing/2014/main" id="{E3FBDFC8-7ED1-B7D1-0592-54303AA322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9671" y="2954740"/>
            <a:ext cx="375242" cy="234298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Arrow: Left 11">
            <a:extLst>
              <a:ext uri="{FF2B5EF4-FFF2-40B4-BE49-F238E27FC236}">
                <a16:creationId xmlns:a16="http://schemas.microsoft.com/office/drawing/2014/main" id="{9DA9AB8A-E633-E98B-87E1-EB2E0ECE41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9671" y="3233005"/>
            <a:ext cx="375242" cy="234298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Arrow: Left 12">
            <a:extLst>
              <a:ext uri="{FF2B5EF4-FFF2-40B4-BE49-F238E27FC236}">
                <a16:creationId xmlns:a16="http://schemas.microsoft.com/office/drawing/2014/main" id="{F5C348E1-88C4-DCA4-8D84-07546A3F3C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9671" y="3511270"/>
            <a:ext cx="375242" cy="234298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Arrow: Left 13">
            <a:extLst>
              <a:ext uri="{FF2B5EF4-FFF2-40B4-BE49-F238E27FC236}">
                <a16:creationId xmlns:a16="http://schemas.microsoft.com/office/drawing/2014/main" id="{9B5F73FF-84A3-76CA-A691-0B774DE4B1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9671" y="4038841"/>
            <a:ext cx="375242" cy="234298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Arrow: Left 14">
            <a:extLst>
              <a:ext uri="{FF2B5EF4-FFF2-40B4-BE49-F238E27FC236}">
                <a16:creationId xmlns:a16="http://schemas.microsoft.com/office/drawing/2014/main" id="{6689F8E4-5C11-B8B5-AB53-B485093BFB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9671" y="4879019"/>
            <a:ext cx="375242" cy="234298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Arrow: Left 15">
            <a:extLst>
              <a:ext uri="{FF2B5EF4-FFF2-40B4-BE49-F238E27FC236}">
                <a16:creationId xmlns:a16="http://schemas.microsoft.com/office/drawing/2014/main" id="{8B3741B8-9816-4D55-42CA-6EFF6F5242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905451" y="5380526"/>
            <a:ext cx="406608" cy="300837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31F2AF7-DFEE-A6A3-7AB5-0606F78CD218}"/>
              </a:ext>
            </a:extLst>
          </p:cNvPr>
          <p:cNvSpPr txBox="1"/>
          <p:nvPr/>
        </p:nvSpPr>
        <p:spPr>
          <a:xfrm>
            <a:off x="7441790" y="5298872"/>
            <a:ext cx="4626222" cy="120032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/>
            <a:r>
              <a:rPr lang="es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= La ciudad o el pueblo votó a favor de adoptar requisitos de eliminación de combustibles fósiles.</a:t>
            </a:r>
          </a:p>
          <a:p>
            <a:pPr rtl="0"/>
            <a:r>
              <a:rPr lang="es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(a partir del 10 de julio de 2023)</a:t>
            </a:r>
          </a:p>
        </p:txBody>
      </p:sp>
    </p:spTree>
    <p:extLst>
      <p:ext uri="{BB962C8B-B14F-4D97-AF65-F5344CB8AC3E}">
        <p14:creationId xmlns:p14="http://schemas.microsoft.com/office/powerpoint/2010/main" val="2346477064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es-US" sz="44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es-US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ontexto:</a:t>
            </a:r>
          </a:p>
          <a:p>
            <a:pPr lvl="1" rtl="0">
              <a:spcBef>
                <a:spcPts val="600"/>
              </a:spcBef>
            </a:pPr>
            <a:r>
              <a:rPr lang="es-US" sz="20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edidas de Cambridge para abordar el cambio climático</a:t>
            </a:r>
            <a:br>
              <a:rPr lang="es-US" sz="20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000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es-US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Normativa nueva:</a:t>
            </a:r>
          </a:p>
          <a:p>
            <a:pPr lvl="1" rtl="0">
              <a:spcBef>
                <a:spcPts val="600"/>
              </a:spcBef>
            </a:pPr>
            <a:r>
              <a:rPr lang="es-US" sz="20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rograma de Massachusetts de manifestación contra el uso de combustibles fósiles.</a:t>
            </a:r>
            <a:br>
              <a:rPr lang="es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0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Requisitos propuestos:</a:t>
            </a:r>
          </a:p>
          <a:p>
            <a:pPr lvl="1" rtl="0">
              <a:spcBef>
                <a:spcPts val="600"/>
              </a:spcBef>
            </a:pPr>
            <a:r>
              <a:rPr lang="es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liminar el uso de combustibles fósiles en edificaciones nuevas y obras importantes de renovación.</a:t>
            </a:r>
            <a:br>
              <a:rPr lang="es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000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es-US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ronograma y próximos pasos para la aprobación de la normativa.</a:t>
            </a:r>
            <a:b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4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es-US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reguntas y respuestas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udad de Cambridge –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io de 2023              17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4237404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es-US" sz="28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l Programa de manifestación exige que los edificios nuevos y las renovaciones significativas no utilicen combustibles fósiles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9" y="1805433"/>
            <a:ext cx="6627878" cy="4344435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es-US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Los edificios nuevos están cubiertos por el Programa contra el uso de combustibles fósiles.</a:t>
            </a:r>
          </a:p>
          <a:p>
            <a:pPr marL="0" indent="0" rtl="0">
              <a:spcBef>
                <a:spcPts val="600"/>
              </a:spcBef>
              <a:buNone/>
            </a:pPr>
            <a:r>
              <a:rPr lang="es-US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n la legislación estatal se contemplan y definen las renovaciones significativas (por lo general, el 50 % de la superficie de una construcción o más).</a:t>
            </a:r>
          </a:p>
          <a:p>
            <a:pPr marL="0" indent="0" rtl="0">
              <a:spcBef>
                <a:spcPts val="600"/>
              </a:spcBef>
              <a:buNone/>
            </a:pPr>
            <a:r>
              <a:rPr lang="es-US" sz="2800" b="1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xentos por normativa estatal: hospitales, consultorios médicos y laboratorios.</a:t>
            </a:r>
          </a:p>
          <a:p>
            <a:pPr>
              <a:spcBef>
                <a:spcPts val="600"/>
              </a:spcBef>
            </a:pP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>
              <a:spcBef>
                <a:spcPts val="600"/>
              </a:spcBef>
            </a:pP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u="sng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6B35D68-DDEC-DA4B-6BA6-36BEC583C076}"/>
              </a:ext>
            </a:extLst>
          </p:cNvPr>
          <p:cNvSpPr txBox="1"/>
          <p:nvPr/>
        </p:nvSpPr>
        <p:spPr>
          <a:xfrm>
            <a:off x="7351777" y="1713821"/>
            <a:ext cx="4376927" cy="427809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noAutofit/>
          </a:bodyPr>
          <a:lstStyle/>
          <a:p>
            <a:pPr rtl="0"/>
            <a:r>
              <a:rPr lang="es-US" sz="1600" b="0" i="0" u="sng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La definición específica de renovación significativa incluye</a:t>
            </a:r>
            <a:r>
              <a:rPr lang="es-US" sz="16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:</a:t>
            </a:r>
          </a:p>
          <a:p>
            <a:pPr marL="285750" indent="-285750" rtl="0">
              <a:buFont typeface="Arial" panose="020B0604020202020204" pitchFamily="34" charset="0"/>
              <a:buChar char="•"/>
            </a:pPr>
            <a:r>
              <a:rPr lang="es-US" sz="16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Para viviendas modernas de 1 a 2 familias:</a:t>
            </a:r>
          </a:p>
          <a:p>
            <a:pPr marL="742950" lvl="1" indent="-285750" rtl="0">
              <a:buFont typeface="Arial" panose="020B0604020202020204" pitchFamily="34" charset="0"/>
              <a:buChar char="•"/>
            </a:pPr>
            <a:r>
              <a:rPr lang="es-US" sz="16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renovación del 50 % de la edificación, si es superior a los 1,000 pies cuadrados</a:t>
            </a:r>
          </a:p>
          <a:p>
            <a:pPr marL="742950" lvl="1" indent="-285750" rtl="0">
              <a:buFont typeface="Arial" panose="020B0604020202020204" pitchFamily="34" charset="0"/>
              <a:buChar char="•"/>
            </a:pPr>
            <a:r>
              <a:rPr lang="es-US" sz="16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adición de 1,000 pies cuadrados, o duplicación de la vivienda existente</a:t>
            </a:r>
          </a:p>
          <a:p>
            <a:pPr marL="742950" lvl="1" indent="-285750" rtl="0">
              <a:buFont typeface="Arial" panose="020B0604020202020204" pitchFamily="34" charset="0"/>
              <a:buChar char="•"/>
            </a:pPr>
            <a:r>
              <a:rPr lang="es-US" sz="16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cambio de uso de 1,000 pies cuadrados</a:t>
            </a:r>
          </a:p>
          <a:p>
            <a:pPr marL="285750" indent="-285750" rtl="0">
              <a:buFont typeface="Arial" panose="020B0604020202020204" pitchFamily="34" charset="0"/>
              <a:buChar char="•"/>
            </a:pPr>
            <a:r>
              <a:rPr lang="es-US" sz="16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Para todos los demás tipos de construcciones:</a:t>
            </a:r>
          </a:p>
          <a:p>
            <a:pPr marL="742950" lvl="1" indent="-285750" rtl="0">
              <a:buFont typeface="Arial" panose="020B0604020202020204" pitchFamily="34" charset="0"/>
              <a:buChar char="•"/>
            </a:pPr>
            <a:r>
              <a:rPr lang="es-US" sz="16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renovación del 50 % de la superficie de la edificación, si es superior a los 20,000 pies cuadrados</a:t>
            </a:r>
          </a:p>
          <a:p>
            <a:pPr marL="742950" lvl="1" indent="-285750" rtl="0">
              <a:buFont typeface="Arial" panose="020B0604020202020204" pitchFamily="34" charset="0"/>
              <a:buChar char="•"/>
            </a:pPr>
            <a:r>
              <a:rPr lang="es-US" sz="16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adición de 20,000 pies cuadrados o duplicación del edificio existente</a:t>
            </a:r>
          </a:p>
          <a:p>
            <a:pPr marL="742950" lvl="1" indent="-285750" rtl="0">
              <a:buFont typeface="Arial" panose="020B0604020202020204" pitchFamily="34" charset="0"/>
              <a:buChar char="•"/>
            </a:pPr>
            <a:r>
              <a:rPr lang="es-US" sz="16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cambio de uso de 20,000 pies cuadrados o de todo el edifici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udad de Cambridge –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io de 2023              18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44974" y="518753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9736002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es-US" sz="32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l Programa de manifestación contra el uso de combustibles fósiles propone una ordenanza “modelo”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805433"/>
            <a:ext cx="10744203" cy="4344435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es-US" sz="1800" b="0" i="0" u="sng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ontenido de la ordenanza modelo</a:t>
            </a:r>
            <a:br>
              <a:rPr lang="es-US" sz="1800" b="0" i="0" u="sng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1800" u="sng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rtl="0">
              <a:spcBef>
                <a:spcPts val="600"/>
              </a:spcBef>
            </a:pPr>
            <a:r>
              <a:rPr lang="es-US" sz="1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Una edificación no puede utilizar carbón, petróleo, gas natural ni otros combustibles fósiles para su funcionamiento.</a:t>
            </a:r>
          </a:p>
          <a:p>
            <a:pPr rtl="0">
              <a:spcBef>
                <a:spcPts val="600"/>
              </a:spcBef>
            </a:pPr>
            <a:r>
              <a:rPr lang="es-US" sz="1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n general, se entiende que incluye calefacción, sistemas de agua caliente, iluminación, cocina y secado de ropa, y, eventualmente, cargas de procesos comerciales (por ejemplo, restaurantes o tintorerías).</a:t>
            </a:r>
          </a:p>
          <a:p>
            <a:pPr lvl="1" rtl="0">
              <a:spcBef>
                <a:spcPts val="600"/>
              </a:spcBef>
            </a:pPr>
            <a:r>
              <a:rPr lang="es-US" sz="1800" b="1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Una ciudad o pueblo puede proponer excepciones limitadas o modificaciones del modelo de ordenanza debidamente justificadas.</a:t>
            </a:r>
          </a:p>
          <a:p>
            <a:pPr rtl="0">
              <a:spcBef>
                <a:spcPts val="1200"/>
              </a:spcBef>
            </a:pPr>
            <a:r>
              <a:rPr lang="es-US" sz="1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l modelo de ordenanza se basa en el nuevo código de construcción “especializado” (que Cambridge adoptó) y básicamente elimina las opciones que permiten el uso de combustibles fósiles, con dos aclaraciones:</a:t>
            </a:r>
          </a:p>
          <a:p>
            <a:pPr lvl="1" rtl="0">
              <a:spcBef>
                <a:spcPts val="1200"/>
              </a:spcBef>
            </a:pPr>
            <a:r>
              <a:rPr lang="es-US" sz="1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Hasta 2027, permite el uso de gas o propano para el calentamiento de agua en viviendas multifamiliares.</a:t>
            </a:r>
          </a:p>
          <a:p>
            <a:pPr lvl="1" rtl="0">
              <a:spcBef>
                <a:spcPts val="1200"/>
              </a:spcBef>
            </a:pPr>
            <a:r>
              <a:rPr lang="es-US" sz="1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specifica que en las renovaciones importantes no se pueden instalar equipos de combustibles fósiles </a:t>
            </a:r>
            <a:r>
              <a:rPr lang="es-US" sz="1800" b="0" i="0" u="sng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nuevos</a:t>
            </a:r>
            <a:r>
              <a:rPr lang="es-US" sz="1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para la calefacción, el agua caliente, la cocina, etc.</a:t>
            </a:r>
          </a:p>
          <a:p>
            <a:pPr marL="0" indent="0">
              <a:spcBef>
                <a:spcPts val="600"/>
              </a:spcBef>
              <a:buNone/>
            </a:pPr>
            <a:endParaRPr lang="en-US" sz="1800" u="sng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udad de Cambridge –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io de 2023              19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3898" y="464379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4168918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303B9770-7DE8-9A95-C80B-6C4BC1773E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4966766"/>
            <a:ext cx="3461312" cy="131810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5FD81FA8-56D7-AB80-E26E-A8E60A9C1A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86889" y="2831735"/>
            <a:ext cx="1008257" cy="1017118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9DA8C127-7518-02FF-2670-E6AF73DACDE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2509" y="664739"/>
            <a:ext cx="10515600" cy="1049082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4400" b="1" i="0" u="none" strike="noStrike" kern="1200" cap="none" spc="0" normalizeH="0" baseline="0" noProof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j-ea"/>
                <a:cs typeface="+mj-cs"/>
              </a:rPr>
              <a:t>Bienvenido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F33ADE03-8CEF-F08A-63EC-1BFD1EDFC8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10386212" y="270434"/>
            <a:ext cx="364577" cy="364577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10684B81-7745-328E-9402-37C56F9199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>
            <a:off x="11350320" y="293373"/>
            <a:ext cx="337749" cy="337749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BB9A0BA3-9E22-9B8D-B7B3-5543CAD77B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flipH="1">
            <a:off x="9493778" y="293385"/>
            <a:ext cx="337725" cy="337725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FE7CA01B-19B7-674B-EC88-1E16C867FC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827714" y="326571"/>
            <a:ext cx="259356" cy="259356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1F70C614-6CF8-9973-9B43-7D2DDD66FC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004490" y="317045"/>
            <a:ext cx="259357" cy="259357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CF70A1A3-2244-07EA-D65C-91063BE7DE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891464" y="326570"/>
            <a:ext cx="259356" cy="259356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5B1EE775-0DD9-9523-89D7-58F9EA9BC2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5188" y="1713821"/>
            <a:ext cx="10515836" cy="3053251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Susanne Rasmussen, directora de planificación medioambiental y transporte</a:t>
            </a:r>
            <a:b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4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Nikhil Nadkarni, planificador de proyectos energéticos</a:t>
            </a:r>
            <a:b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4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Jennifer Ballew, planificadora de proyectos de sostenibilidad</a:t>
            </a:r>
            <a:b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4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Brad Pillen, planificador asociado para el compromiso con la energía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9D560B9-9B58-7233-67C2-65CD20C914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7CE0FFF-B88F-4BF6-A69A-2F7EF781B2C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1081341" y="5070384"/>
            <a:ext cx="2749005" cy="1077218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2800" b="0" i="1" u="none" strike="noStrike" kern="1200" cap="none" spc="0" normalizeH="0" baseline="0" noProof="0" dirty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</a:rPr>
              <a:t>Esta reunión está siendo grabada</a:t>
            </a: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5057488-8D75-303E-AA09-4CB3EA3C2D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udad de Cambridge – Community Development Department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CEA035ED-780D-D8A1-57EC-6AD5BA6B18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io de 2023              2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3271544"/>
      </p:ext>
    </p:extLst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E51C2173-2F81-6980-F1ED-A887E798F795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2509" y="664739"/>
            <a:ext cx="10515600" cy="1049082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3200" b="1" i="0" u="none" strike="noStrike" kern="1200" cap="none" spc="0" normalizeH="0" baseline="0" noProof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j-ea"/>
                <a:cs typeface="+mj-cs"/>
              </a:rPr>
              <a:t>El Estado evaluará los resultado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 rtl="0">
              <a:spcBef>
                <a:spcPts val="1200"/>
              </a:spcBef>
              <a:buNone/>
            </a:pPr>
            <a:r>
              <a:rPr lang="es-US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Las ciudades y pueblos están obligados a proporcionar los registros de permisos de construcción al DOER, incluidos los informes de calificación energética. </a:t>
            </a:r>
          </a:p>
          <a:p>
            <a:pPr marL="0" indent="0">
              <a:spcBef>
                <a:spcPts val="1200"/>
              </a:spcBef>
              <a:buNone/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1200"/>
              </a:spcBef>
              <a:buNone/>
            </a:pPr>
            <a:r>
              <a:rPr lang="es-US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l DOER tendrá acceso al uso energético de las empresas de servicios públicos e informará sobre la reducción de emisiones.</a:t>
            </a:r>
          </a:p>
          <a:p>
            <a:pPr>
              <a:spcBef>
                <a:spcPts val="600"/>
              </a:spcBef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u="sng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udad de Cambridge –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io de 2023              20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3981643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es-US" sz="44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es-US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ontexto:</a:t>
            </a:r>
          </a:p>
          <a:p>
            <a:pPr lvl="1" rtl="0">
              <a:spcBef>
                <a:spcPts val="600"/>
              </a:spcBef>
            </a:pPr>
            <a:r>
              <a:rPr lang="es-US" sz="20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edidas de Cambridge para abordar el cambio climático</a:t>
            </a:r>
            <a:br>
              <a:rPr lang="es-US" sz="20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000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es-US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Normativa nueva:</a:t>
            </a:r>
          </a:p>
          <a:p>
            <a:pPr lvl="1" rtl="0">
              <a:spcBef>
                <a:spcPts val="600"/>
              </a:spcBef>
            </a:pPr>
            <a:r>
              <a:rPr lang="es-US" sz="20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rograma de Massachusetts de manifestación contra el uso de combustibles fósiles.</a:t>
            </a:r>
            <a:br>
              <a:rPr lang="es-US" sz="20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000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es-US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Requisitos propuestos:</a:t>
            </a:r>
          </a:p>
          <a:p>
            <a:pPr lvl="1" rtl="0">
              <a:spcBef>
                <a:spcPts val="600"/>
              </a:spcBef>
            </a:pPr>
            <a:r>
              <a:rPr lang="es-US" sz="20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liminar el uso de combustibles fósiles en edificaciones nuevas y obras importantes de renovación.</a:t>
            </a:r>
            <a:br>
              <a:rPr lang="es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0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ronograma y próximos pasos para la aprobación de la normativa.</a:t>
            </a:r>
            <a:b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4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es-US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reguntas y respuestas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udad de Cambridge –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io de 2023              21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584219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898" y="953582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es-US" sz="44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lendario para las Comunidades Prioritaria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2427513"/>
            <a:ext cx="10744203" cy="3722355"/>
          </a:xfrm>
        </p:spPr>
        <p:txBody>
          <a:bodyPr>
            <a:noAutofit/>
          </a:bodyPr>
          <a:lstStyle/>
          <a:p>
            <a:pPr marL="0" indent="0" rtl="0">
              <a:spcBef>
                <a:spcPts val="1200"/>
              </a:spcBef>
              <a:buNone/>
            </a:pPr>
            <a:r>
              <a:rPr lang="es-US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mbridge debe presentar su solicitud final (incluyendo la ordenanza propuesta y la fecha de entrada en vigor) al DOER antes del </a:t>
            </a:r>
            <a:r>
              <a:rPr lang="es-US" sz="2800" b="1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1.º de septiembre de 2023</a:t>
            </a:r>
            <a:r>
              <a:rPr lang="es-US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.</a:t>
            </a:r>
          </a:p>
          <a:p>
            <a:pPr lvl="1" rtl="0">
              <a:spcBef>
                <a:spcPts val="1200"/>
              </a:spcBef>
            </a:pPr>
            <a: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n caso contrario, será eliminada del programa.</a:t>
            </a:r>
          </a:p>
          <a:p>
            <a:pPr lvl="1" rtl="0">
              <a:spcBef>
                <a:spcPts val="1200"/>
              </a:spcBef>
            </a:pPr>
            <a: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Los municipios pueden presentar antes sus solicitudes al DOER para recibir sus observaciones.</a:t>
            </a:r>
          </a:p>
          <a:p>
            <a:pPr marL="0" indent="0">
              <a:spcBef>
                <a:spcPts val="600"/>
              </a:spcBef>
              <a:buNone/>
            </a:pPr>
            <a:endParaRPr lang="en-US" u="sng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udad de Cambridge –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io de 2023              22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5849851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898" y="811057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es-US" sz="32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stamos compartiendo información sobre el programa con los residentes de Cambridge y los propietarios de edificios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897709"/>
            <a:ext cx="10744203" cy="4252159"/>
          </a:xfrm>
        </p:spPr>
        <p:txBody>
          <a:bodyPr>
            <a:noAutofit/>
          </a:bodyPr>
          <a:lstStyle/>
          <a:p>
            <a:pPr marL="228600" lvl="1" rtl="0">
              <a:spcBef>
                <a:spcPts val="1200"/>
              </a:spcBef>
            </a:pPr>
            <a:r>
              <a:rPr lang="es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Información presentada en este seminario web y en otro del </a:t>
            </a:r>
            <a:r>
              <a:rPr lang="es-US" sz="2000" b="0" i="0" u="none" strike="noStrike" baseline="30000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24</a:t>
            </a:r>
            <a:r>
              <a:rPr lang="es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de julio.</a:t>
            </a:r>
            <a:endParaRPr lang="en-US" sz="20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228600" lvl="1" rtl="0">
              <a:spcBef>
                <a:spcPts val="1200"/>
              </a:spcBef>
            </a:pPr>
            <a:r>
              <a:rPr lang="es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articipación de los profesionales de la construcción en los seminarios web de esta semana sobre códigos especializados.</a:t>
            </a:r>
          </a:p>
          <a:p>
            <a:pPr marL="685800" lvl="2" rtl="0">
              <a:spcBef>
                <a:spcPts val="1200"/>
              </a:spcBef>
            </a:pPr>
            <a:r>
              <a:rPr lang="es-US" sz="1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artes 11 de julio a las 4 p. m.: código especializado comercial</a:t>
            </a:r>
          </a:p>
          <a:p>
            <a:pPr marL="685800" lvl="2" rtl="0">
              <a:spcBef>
                <a:spcPts val="1200"/>
              </a:spcBef>
            </a:pPr>
            <a:r>
              <a:rPr lang="es-US" sz="1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iércoles 12 de julio a las 4 p. m.: código especializado residencial</a:t>
            </a:r>
          </a:p>
          <a:p>
            <a:pPr marL="228600" lvl="1" rtl="0">
              <a:spcBef>
                <a:spcPts val="1200"/>
              </a:spcBef>
            </a:pPr>
            <a:r>
              <a:rPr lang="es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Distribución de folletos en espacios comunitarios de Cambridge.</a:t>
            </a:r>
          </a:p>
          <a:p>
            <a:pPr marL="228600" lvl="1" rtl="0">
              <a:spcBef>
                <a:spcPts val="1200"/>
              </a:spcBef>
            </a:pPr>
            <a:r>
              <a:rPr lang="es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Noticias e información en línea.</a:t>
            </a:r>
          </a:p>
          <a:p>
            <a:pPr marL="228600" lvl="1" rtl="0">
              <a:spcBef>
                <a:spcPts val="1200"/>
              </a:spcBef>
            </a:pPr>
            <a:r>
              <a:rPr lang="es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ctividades de divulgación entre las asociaciones de residentes y las asociaciones empresariales.</a:t>
            </a:r>
          </a:p>
          <a:p>
            <a:pPr marL="228600" lvl="1" rtl="0">
              <a:spcBef>
                <a:spcPts val="1200"/>
              </a:spcBef>
            </a:pPr>
            <a:r>
              <a:rPr lang="es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Información para propietarios de edificios grandes y profesionales de la construcción que trabajan en Cambridge.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udad de Cambridge –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io de 2023              23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359655"/>
      </p:ext>
    </p:ext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898" y="898145"/>
            <a:ext cx="10744202" cy="1049082"/>
          </a:xfrm>
        </p:spPr>
        <p:txBody>
          <a:bodyPr>
            <a:noAutofit/>
          </a:bodyPr>
          <a:lstStyle/>
          <a:p>
            <a:pPr rtl="0"/>
            <a:r>
              <a:rPr lang="es-US" sz="32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Queremos conocer su opinión sobre cómo los edificios nuevos y las renovaciones significativas en Cambridge pueden prescindir de los combustibles fósiles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2275114"/>
            <a:ext cx="10744203" cy="3874754"/>
          </a:xfrm>
        </p:spPr>
        <p:txBody>
          <a:bodyPr>
            <a:noAutofit/>
          </a:bodyPr>
          <a:lstStyle/>
          <a:p>
            <a:pPr marL="0" indent="0" rtl="0">
              <a:spcBef>
                <a:spcPts val="1200"/>
              </a:spcBef>
              <a:buNone/>
            </a:pPr>
            <a:r>
              <a:rPr lang="es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demás de conocer la opinión de los asistentes a los seminarios web, se lanzó una encuesta en línea para recopilar las opiniones de los residentes de Cambridge y los propietarios de edificios, acerca de lo siguiente:</a:t>
            </a:r>
          </a:p>
          <a:p>
            <a:pPr rtl="0">
              <a:spcBef>
                <a:spcPts val="1200"/>
              </a:spcBef>
            </a:pPr>
            <a:r>
              <a:rPr lang="es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tipos específicos de edificios en los que debemos centrar nuestra investigación</a:t>
            </a:r>
          </a:p>
          <a:p>
            <a:pPr rtl="0">
              <a:spcBef>
                <a:spcPts val="1200"/>
              </a:spcBef>
            </a:pPr>
            <a:r>
              <a:rPr lang="es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usos específicos o sistemas de construcción que deberíamos seguir investigando</a:t>
            </a:r>
          </a:p>
          <a:p>
            <a:pPr rtl="0">
              <a:spcBef>
                <a:spcPts val="1200"/>
              </a:spcBef>
            </a:pPr>
            <a:r>
              <a:rPr lang="es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formas de no utilizar combustibles fósiles en las renovaciones significativas</a:t>
            </a:r>
          </a:p>
          <a:p>
            <a:pPr rtl="0">
              <a:spcBef>
                <a:spcPts val="1200"/>
              </a:spcBef>
            </a:pPr>
            <a:r>
              <a:rPr lang="es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otros temas que deberíamos investigar</a:t>
            </a:r>
          </a:p>
          <a:p>
            <a:pPr marL="0" indent="0" rtl="0">
              <a:spcBef>
                <a:spcPts val="1200"/>
              </a:spcBef>
              <a:buNone/>
            </a:pPr>
            <a:r>
              <a:rPr lang="es-US" sz="2000" b="1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Las respuestas a la encuesta deben enviarse antes del </a:t>
            </a:r>
            <a:r>
              <a:rPr lang="es-US" sz="2000" b="1" i="0" u="none" strike="noStrike" baseline="30000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17</a:t>
            </a:r>
            <a:r>
              <a:rPr lang="es-US" sz="2000" b="1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de julio para incorporarlas al trabajo de investigación.</a:t>
            </a:r>
          </a:p>
          <a:p>
            <a:pPr marL="0" indent="0" rtl="0">
              <a:spcBef>
                <a:spcPts val="1200"/>
              </a:spcBef>
              <a:buNone/>
            </a:pPr>
            <a:r>
              <a:rPr lang="es-US" sz="20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  <a:hlinkClick r:id="rId2"/>
              </a:rPr>
              <a:t>https://</a:t>
            </a:r>
            <a:r>
              <a:rPr lang="es-US" sz="2000" b="1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  <a:hlinkClick r:id="rId2"/>
              </a:rPr>
              <a:t>bit.ly/FFFupdates</a:t>
            </a:r>
            <a:endParaRPr lang="en-US" sz="2000" b="1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udad de Cambridge –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io de 2023              24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2900042"/>
      </p:ext>
    </p:extLst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es-US" sz="44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róximos pasos para Cambrid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 rtl="0">
              <a:spcBef>
                <a:spcPts val="1200"/>
              </a:spcBef>
              <a:buNone/>
            </a:pPr>
            <a: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stamos trabajando con un especialista de investigación para analizar si conviene introducir algún cambio en la norma modelo al hacer lo siguiente:</a:t>
            </a:r>
          </a:p>
          <a:p>
            <a:pPr lvl="1" rtl="0">
              <a:spcBef>
                <a:spcPts val="1200"/>
              </a:spcBef>
            </a:pPr>
            <a:r>
              <a:rPr lang="es-US" sz="22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xaminar los tipos de edificios que se construyen o renuevan en Cambridge</a:t>
            </a:r>
          </a:p>
          <a:p>
            <a:pPr lvl="1" rtl="0">
              <a:spcBef>
                <a:spcPts val="1200"/>
              </a:spcBef>
            </a:pPr>
            <a:r>
              <a:rPr lang="es-US" sz="22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onocer las limitaciones técnicas de los equipos eléctricos para determinados tipos de edificaciones o usos finales</a:t>
            </a:r>
          </a:p>
          <a:p>
            <a:pPr lvl="1" rtl="0">
              <a:spcBef>
                <a:spcPts val="1200"/>
              </a:spcBef>
            </a:pPr>
            <a:r>
              <a:rPr lang="es-US" sz="22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revisar cómo afectarían los requisitos a las cargas de proceso en Cambridge</a:t>
            </a:r>
          </a:p>
          <a:p>
            <a:pPr lvl="1" rtl="0">
              <a:spcBef>
                <a:spcPts val="1200"/>
              </a:spcBef>
            </a:pPr>
            <a:r>
              <a:rPr lang="es-US" sz="22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revisar la información recibida en la encuesta para incluirla en la investigación</a:t>
            </a:r>
            <a:endParaRPr lang="en-US" sz="24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1200"/>
              </a:spcBef>
              <a:buNone/>
            </a:pPr>
            <a: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l City Council (Ayuntamiento) debatirá la versión de la ordenanza propuesta en la reunión del </a:t>
            </a:r>
            <a:r>
              <a:rPr lang="es-US" sz="2400" b="1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Ordinance</a:t>
            </a:r>
            <a:r>
              <a:rPr lang="es-US" sz="2400" b="1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lang="es-US" sz="2400" b="1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ommittee</a:t>
            </a:r>
            <a:r>
              <a:rPr lang="es-US" sz="2400" b="1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(Comité de ordenanzas) que se llevará a cabo el 1.º de agosto</a:t>
            </a:r>
            <a: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. Se decidirá la </a:t>
            </a:r>
            <a:r>
              <a:rPr lang="es-US" sz="2400" b="1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versión definitiva el 7 de agosto</a:t>
            </a:r>
            <a: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.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udad de Cambridge –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io de 2023              25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2625034"/>
      </p:ext>
    </p:extLst>
  </p:cSld>
  <p:clrMapOvr>
    <a:masterClrMapping/>
  </p:clrMapOvr>
  <p:transition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es-US" sz="44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reguntas y respuesta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3" name="Content Placeholder 3" descr="Write your questions in the Zoom Q&amp;A panel">
            <a:extLst>
              <a:ext uri="{FF2B5EF4-FFF2-40B4-BE49-F238E27FC236}">
                <a16:creationId xmlns:a16="http://schemas.microsoft.com/office/drawing/2014/main" id="{B21E3827-1DB0-0D3E-8DCC-20E920E4B21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67694978"/>
              </p:ext>
            </p:extLst>
          </p:nvPr>
        </p:nvGraphicFramePr>
        <p:xfrm>
          <a:off x="838200" y="1690689"/>
          <a:ext cx="10866120" cy="3061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8F6A06A7-FFFD-A2F5-F721-592EDB8AAA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3149102" y="5313390"/>
            <a:ext cx="1904724" cy="92333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800" b="1" i="0" u="none" strike="noStrike" kern="1200" cap="none" spc="0" normalizeH="0" baseline="0" noProof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Panel inferior de la pantalla de Zoom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4E7080A-BF57-D511-AB85-451D6AB36B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28726" r="48292"/>
          <a:stretch>
            <a:fillRect/>
          </a:stretch>
        </p:blipFill>
        <p:spPr>
          <a:xfrm>
            <a:off x="5160703" y="5167312"/>
            <a:ext cx="1637304" cy="1134448"/>
          </a:xfrm>
          <a:prstGeom prst="rect">
            <a:avLst/>
          </a:prstGeom>
        </p:spPr>
      </p:pic>
      <p:sp>
        <p:nvSpPr>
          <p:cNvPr id="7" name="Flowchart: Off-page Connector 6">
            <a:extLst>
              <a:ext uri="{FF2B5EF4-FFF2-40B4-BE49-F238E27FC236}">
                <a16:creationId xmlns:a16="http://schemas.microsoft.com/office/drawing/2014/main" id="{ACB251AD-130B-1E9A-527E-F944D052EF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5400000">
            <a:off x="7283641" y="4928123"/>
            <a:ext cx="763307" cy="1637302"/>
          </a:xfrm>
          <a:prstGeom prst="flowChartOffpageConnector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141A10D-5B03-7E89-B4DE-3B8BE28B7D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7072274" y="5401676"/>
            <a:ext cx="1518549" cy="6463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600" b="1" i="0" u="none" strike="noStrike" kern="1200" cap="none" spc="0" normalizeH="0" baseline="0" noProof="0" dirty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Formule una pregunta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udad de Cambridge –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io de 2023              26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234593"/>
      </p:ext>
    </p:extLst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F196868-1C52-8D91-AF0E-C71A04E4801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2509" y="664739"/>
            <a:ext cx="10515600" cy="1049082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4400" b="1" i="0" u="none" strike="noStrike" kern="1200" cap="none" spc="0" normalizeH="0" baseline="0" noProof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j-ea"/>
                <a:cs typeface="+mj-cs"/>
              </a:rPr>
              <a:t>Para más informació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88BC24-1734-6419-1D44-083DDAA036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rtl="0"/>
            <a:r>
              <a:rPr lang="es-US" sz="28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ingrese a </a:t>
            </a:r>
            <a:r>
              <a:rPr lang="es-US" sz="2800" b="0" i="0" u="none" strike="noStrike">
                <a:highlight>
                  <a:srgbClr val="000000">
                    <a:alpha val="0"/>
                  </a:srgbClr>
                </a:highlight>
                <a:latin typeface="Calibri"/>
                <a:hlinkClick r:id="rId2"/>
              </a:rPr>
              <a:t>https://</a:t>
            </a:r>
            <a:r>
              <a:rPr lang="es-US" sz="2800" b="1" i="0" u="none" strike="noStrike">
                <a:highlight>
                  <a:srgbClr val="000000">
                    <a:alpha val="0"/>
                  </a:srgbClr>
                </a:highlight>
                <a:latin typeface="Calibri"/>
                <a:hlinkClick r:id="rId2"/>
              </a:rPr>
              <a:t>bit.ly/FFFupdates</a:t>
            </a:r>
            <a:r>
              <a:rPr lang="es-US" sz="28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.</a:t>
            </a:r>
            <a:endParaRPr lang="en-US" b="1"/>
          </a:p>
          <a:p>
            <a:pPr rtl="0"/>
            <a:r>
              <a:rPr lang="es-US" sz="28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Complete la encuesta antes del </a:t>
            </a:r>
            <a:r>
              <a:rPr lang="es-US" sz="2800" b="0" i="0" u="none" strike="noStrike" baseline="30000">
                <a:highlight>
                  <a:srgbClr val="000000">
                    <a:alpha val="0"/>
                  </a:srgbClr>
                </a:highlight>
                <a:latin typeface="Calibri"/>
              </a:rPr>
              <a:t>17</a:t>
            </a:r>
            <a:r>
              <a:rPr lang="es-US" sz="28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 de julio.</a:t>
            </a:r>
            <a:endParaRPr lang="en-US"/>
          </a:p>
          <a:p>
            <a:pPr rtl="0"/>
            <a:r>
              <a:rPr lang="es-US" sz="28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Seminario web del 24 de julio</a:t>
            </a:r>
          </a:p>
          <a:p>
            <a:pPr rtl="0"/>
            <a:r>
              <a:rPr lang="es-US" sz="28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Envíe un correo electrónico a Brad mediante bpillen@cambridgema.gov.</a:t>
            </a:r>
          </a:p>
          <a:p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351053B-92D9-7338-1543-BD80B26AF3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75D8E2BC-B067-A912-1925-E4F54C1A35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udad de Cambridge – Community Development Department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E5C00FE7-1626-A64E-216E-7FC46708F8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io de 2023              27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2210531"/>
      </p:ext>
    </p:extLst>
  </p:cSld>
  <p:clrMapOvr>
    <a:masterClrMapping/>
  </p:clrMapOvr>
  <p:transition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55C3F6FE-508A-07E3-DEBA-1E6F593297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es-US" sz="44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¡Gracias!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9FCCC70-6E17-33E9-D66D-B6B3B0A563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B8DEC12F-2E52-AC16-EF21-4BB45422D8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udad de Cambridge – Community Development Department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BBD967D3-9B49-861D-D44F-CBEE271A4D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io de 2023              28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5861837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803681-83BA-14F1-D3BA-1D9F3C619B06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2509" y="855632"/>
            <a:ext cx="10515600" cy="1049082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4400" b="1" i="0" u="none" strike="noStrike" kern="1200" cap="none" spc="0" normalizeH="0" baseline="0" noProof="0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j-ea"/>
                <a:cs typeface="+mj-cs"/>
              </a:rPr>
              <a:t>Instrucciones para hacer una pregunta o un comentario</a:t>
            </a:r>
          </a:p>
        </p:txBody>
      </p:sp>
      <p:graphicFrame>
        <p:nvGraphicFramePr>
          <p:cNvPr id="23" name="Content Placeholder 3" descr="You will  join the meeting with video and mic off. You can type written questions in the Zoom Q&amp;A panel">
            <a:extLst>
              <a:ext uri="{FF2B5EF4-FFF2-40B4-BE49-F238E27FC236}">
                <a16:creationId xmlns:a16="http://schemas.microsoft.com/office/drawing/2014/main" id="{6A970923-3EE9-5110-7D67-6F29AF537C5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12004560"/>
              </p:ext>
            </p:extLst>
          </p:nvPr>
        </p:nvGraphicFramePr>
        <p:xfrm>
          <a:off x="838200" y="2308562"/>
          <a:ext cx="10866120" cy="3061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3" name="TextBox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3149102" y="5313390"/>
            <a:ext cx="1904724" cy="92333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800" b="1" i="0" u="none" strike="noStrike" kern="1200" cap="none" spc="0" normalizeH="0" baseline="0" noProof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Panel inferior de la pantalla de Zoom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9121920D-1DB4-45C1-AB2E-E79AF596F6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71700" y="6574717"/>
            <a:ext cx="4114800" cy="262815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AEABAB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Ciudad de Cambridge – Community Development Department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CF6A662C-B159-4D4A-B55E-03EE61F7E7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9324812" y="6574717"/>
            <a:ext cx="2743200" cy="262815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AEABAB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Julio de 2023	3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AEABA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7E6D13E-3F18-D30A-8248-80383CD520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28726" r="48292"/>
          <a:stretch>
            <a:fillRect/>
          </a:stretch>
        </p:blipFill>
        <p:spPr>
          <a:xfrm>
            <a:off x="5160703" y="5167312"/>
            <a:ext cx="1637304" cy="1134448"/>
          </a:xfrm>
          <a:prstGeom prst="rect">
            <a:avLst/>
          </a:prstGeom>
        </p:spPr>
      </p:pic>
      <p:sp>
        <p:nvSpPr>
          <p:cNvPr id="9" name="Flowchart: Off-page Connector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5400000">
            <a:off x="7283641" y="4928123"/>
            <a:ext cx="763307" cy="1637302"/>
          </a:xfrm>
          <a:prstGeom prst="flowChartOffpageConnector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7072274" y="5401676"/>
            <a:ext cx="1518549" cy="6463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600" b="1" i="0" u="none" strike="noStrike" kern="1200" cap="none" spc="0" normalizeH="0" baseline="0" noProof="0" dirty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Formule una pregunta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3A07C0A-9186-3109-07B2-97E65FF100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33C9064-36E8-9E93-C896-7069C24EFB28}"/>
              </a:ext>
            </a:extLst>
          </p:cNvPr>
          <p:cNvSpPr txBox="1"/>
          <p:nvPr/>
        </p:nvSpPr>
        <p:spPr>
          <a:xfrm>
            <a:off x="652509" y="2058455"/>
            <a:ext cx="10588515" cy="30532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ADB5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DB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DB5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DB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DB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spcBef>
                <a:spcPts val="600"/>
              </a:spcBef>
              <a:buNone/>
            </a:pPr>
            <a:r>
              <a:rPr lang="es-US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Responderemos las preguntas luego de la presentación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C52EBCC-05CF-19D1-CA36-2D2D0F98314B}"/>
              </a:ext>
            </a:extLst>
          </p:cNvPr>
          <p:cNvSpPr txBox="1"/>
          <p:nvPr/>
        </p:nvSpPr>
        <p:spPr>
          <a:xfrm>
            <a:off x="8865090" y="5317165"/>
            <a:ext cx="2887866" cy="92333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rtl="0"/>
            <a:r>
              <a:rPr lang="es-US" sz="1800" b="1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or cuestiones técnicas, envíe un correo electrónico a jballew@cambridgema.gov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4700355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es-US" sz="44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ontexto:</a:t>
            </a:r>
          </a:p>
          <a:p>
            <a:pPr lvl="1" rtl="0">
              <a:spcBef>
                <a:spcPts val="600"/>
              </a:spcBef>
            </a:pPr>
            <a:r>
              <a:rPr lang="es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edidas de Cambridge para abordar el cambio climático</a:t>
            </a:r>
            <a:br>
              <a:rPr lang="es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0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Normativa nueva:</a:t>
            </a:r>
          </a:p>
          <a:p>
            <a:pPr lvl="1" rtl="0">
              <a:spcBef>
                <a:spcPts val="600"/>
              </a:spcBef>
            </a:pPr>
            <a:r>
              <a:rPr lang="es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rograma de Massachusetts de manifestación contra el uso de combustibles fósiles.</a:t>
            </a:r>
            <a:br>
              <a:rPr lang="es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0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Requisitos propuestos:</a:t>
            </a:r>
          </a:p>
          <a:p>
            <a:pPr lvl="1" rtl="0">
              <a:spcBef>
                <a:spcPts val="600"/>
              </a:spcBef>
            </a:pPr>
            <a:r>
              <a:rPr lang="es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liminar el uso de combustibles fósiles en edificaciones nuevas y obras importantes de renovación.</a:t>
            </a:r>
            <a:br>
              <a:rPr lang="es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0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ronograma y próximos pasos para la aprobación de la normativa.</a:t>
            </a:r>
            <a:b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4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reguntas y respuestas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udad de Cambridge –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io de 2023              4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0403188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es-US" sz="44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ontexto:</a:t>
            </a:r>
          </a:p>
          <a:p>
            <a:pPr lvl="1" rtl="0">
              <a:spcBef>
                <a:spcPts val="600"/>
              </a:spcBef>
            </a:pPr>
            <a:r>
              <a:rPr lang="es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edidas de Cambridge para abordar el cambio climático</a:t>
            </a:r>
            <a:br>
              <a:rPr lang="es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0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es-US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Normativa nueva:</a:t>
            </a:r>
          </a:p>
          <a:p>
            <a:pPr lvl="1" rtl="0">
              <a:spcBef>
                <a:spcPts val="600"/>
              </a:spcBef>
            </a:pPr>
            <a:r>
              <a:rPr lang="es-US" sz="20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rograma de Massachusetts de manifestación contra el uso de combustibles fósiles.</a:t>
            </a:r>
            <a:br>
              <a:rPr lang="es-US" sz="20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000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es-US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Requisitos propuestos:</a:t>
            </a:r>
          </a:p>
          <a:p>
            <a:pPr lvl="1" rtl="0">
              <a:spcBef>
                <a:spcPts val="600"/>
              </a:spcBef>
            </a:pPr>
            <a:r>
              <a:rPr lang="es-US" sz="20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liminar el uso de combustibles fósiles en edificaciones nuevas y obras importantes de renovación.</a:t>
            </a:r>
            <a:br>
              <a:rPr lang="es-US" sz="20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000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es-US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ronograma y próximos pasos para la aprobación de la normativa.</a:t>
            </a:r>
            <a:br>
              <a:rPr lang="es-US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400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es-US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reguntas y respuestas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udad de Cambridge –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io de 2023              5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2723466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976856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es-US" sz="36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Desde hace tiempo, la ciudad de Cambridge se ha comprometido a luchar contra el cambio climático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0375151-8B20-3D8C-FEBF-EF4330089F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5188" y="2229307"/>
            <a:ext cx="5142212" cy="3920561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mbridge está tomando medidas para lo siguiente:</a:t>
            </a:r>
          </a:p>
          <a:p>
            <a:pPr rtl="0">
              <a:spcBef>
                <a:spcPts val="600"/>
              </a:spcBef>
            </a:pPr>
            <a: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reducir a cero las emisiones de gases de efecto invernadero para el año 2050</a:t>
            </a:r>
          </a:p>
          <a:p>
            <a:pPr rtl="0">
              <a:spcBef>
                <a:spcPts val="600"/>
              </a:spcBef>
            </a:pPr>
            <a: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repararse para el impacto climático  </a:t>
            </a:r>
          </a:p>
          <a:p>
            <a:pPr>
              <a:spcBef>
                <a:spcPts val="600"/>
              </a:spcBef>
            </a:pPr>
            <a:endParaRPr lang="en-US" sz="24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mbridge forma parte de una coalición más grande de ciudades del área de Boston que está comprometida con el objetivo de 2050.</a:t>
            </a:r>
          </a:p>
        </p:txBody>
      </p:sp>
      <p:pic>
        <p:nvPicPr>
          <p:cNvPr id="4" name="Picture 3" descr="Meeting of metro mayors">
            <a:extLst>
              <a:ext uri="{FF2B5EF4-FFF2-40B4-BE49-F238E27FC236}">
                <a16:creationId xmlns:a16="http://schemas.microsoft.com/office/drawing/2014/main" id="{82CC64F2-5936-D499-C8C7-9411BB4F99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03776" y="2229307"/>
            <a:ext cx="4692636" cy="2989420"/>
          </a:xfrm>
          <a:prstGeom prst="rect">
            <a:avLst/>
          </a:prstGeom>
        </p:spPr>
      </p:pic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udad de Cambridge –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io de 2023              6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9041451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5188" y="773486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es-US" sz="32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Los edificios son los que más gases de efecto invernadero (GEI) emiten en Cambridge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0375151-8B20-3D8C-FEBF-EF4330089F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29856" y="2084831"/>
            <a:ext cx="4238245" cy="4065037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es-US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Las emisiones de los edificios proceden del uso in situ de combustibles fósiles (gas, petróleo, etc.) y de la energía eléctrica.</a:t>
            </a:r>
          </a:p>
          <a:p>
            <a:pPr marL="0" indent="0">
              <a:spcBef>
                <a:spcPts val="600"/>
              </a:spcBef>
              <a:buNone/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es-US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da año, la energía eléctrica es más limpia y se prevé que en 2030 sea, en su mayor parte, renovable.</a:t>
            </a:r>
          </a:p>
        </p:txBody>
      </p:sp>
      <p:graphicFrame>
        <p:nvGraphicFramePr>
          <p:cNvPr id="3" name="Chart 2" descr="83% of GHG emissions in Cambridge come from buildings&#10;">
            <a:extLst>
              <a:ext uri="{FF2B5EF4-FFF2-40B4-BE49-F238E27FC236}">
                <a16:creationId xmlns:a16="http://schemas.microsoft.com/office/drawing/2014/main" id="{4D729383-A3E2-ABBC-94AE-375541A950E8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089088"/>
              </p:ext>
            </p:extLst>
          </p:nvPr>
        </p:nvGraphicFramePr>
        <p:xfrm>
          <a:off x="2124075" y="2224088"/>
          <a:ext cx="3983038" cy="3663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9CAB15A-E557-E834-FDBF-E6E97286C4B5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4959350" y="5616575"/>
            <a:ext cx="13049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rtl="0">
              <a:spcBef>
                <a:spcPct val="0"/>
              </a:spcBef>
              <a:spcAft>
                <a:spcPct val="0"/>
              </a:spcAft>
              <a:buNone/>
            </a:pPr>
            <a:r>
              <a:rPr lang="es-US" sz="28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Edificios</a:t>
            </a:r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1C6C5C92-375C-84E1-8E94-D2AF9314A37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79463" y="2371725"/>
            <a:ext cx="211931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 rtl="0">
              <a:spcBef>
                <a:spcPct val="0"/>
              </a:spcBef>
              <a:spcAft>
                <a:spcPct val="0"/>
              </a:spcAft>
              <a:buNone/>
            </a:pPr>
            <a:r>
              <a:rPr lang="es-US" sz="28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Transporte</a:t>
            </a:r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294FC7F-3055-723D-D8CB-28DFC3D1DD68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970213" y="1914525"/>
            <a:ext cx="90011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 rtl="0">
              <a:spcBef>
                <a:spcPct val="0"/>
              </a:spcBef>
              <a:spcAft>
                <a:spcPct val="0"/>
              </a:spcAft>
              <a:buNone/>
            </a:pPr>
            <a:r>
              <a:rPr lang="es-US" sz="28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Residuos</a:t>
            </a:r>
            <a:endParaRPr lang="en-US"/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udad de Cambridge –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io de 2023              7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7" name="Chart 6" descr="83% of GHG emissions in Cambridge come from buildings&#10;">
            <a:extLst>
              <a:ext uri="{FF2B5EF4-FFF2-40B4-BE49-F238E27FC236}">
                <a16:creationId xmlns:a16="http://schemas.microsoft.com/office/drawing/2014/main" id="{26FC6E78-7FCB-7493-A3ED-E044411493E6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928902009"/>
              </p:ext>
            </p:extLst>
          </p:nvPr>
        </p:nvGraphicFramePr>
        <p:xfrm>
          <a:off x="2132097" y="2183984"/>
          <a:ext cx="3983038" cy="3663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650613911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756351"/>
            <a:ext cx="10886982" cy="1049082"/>
          </a:xfrm>
        </p:spPr>
        <p:txBody>
          <a:bodyPr>
            <a:noAutofit/>
          </a:bodyPr>
          <a:lstStyle/>
          <a:p>
            <a:pPr rtl="0"/>
            <a:r>
              <a:rPr lang="es-US" sz="28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mbridge cuenta con un Plan de acción Cero emisiones netas. Se trata de un plan a largo plazo para reducir las emisiones de los edificios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DC0520D7-75CC-508B-69FB-965CE40BDC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12864" y="1805433"/>
            <a:ext cx="4555237" cy="4344435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l Plan de acción Cero emisiones netas se adoptó por primera vez en 2015 y se actualizó mediante un proceso dirigido por la comunidad en 2021.</a:t>
            </a:r>
          </a:p>
          <a:p>
            <a:pPr marL="0" indent="0">
              <a:spcBef>
                <a:spcPts val="600"/>
              </a:spcBef>
              <a:buNone/>
            </a:pPr>
            <a:endParaRPr lang="en-US" sz="24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Identifica políticas y programas para eliminar antes de 2050 las emisiones de gases de efecto invernadero que provienen de </a:t>
            </a:r>
            <a:r>
              <a:rPr lang="es-US" sz="2400" b="1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los edificios</a:t>
            </a:r>
            <a:r>
              <a:rPr lang="es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.</a:t>
            </a:r>
          </a:p>
        </p:txBody>
      </p:sp>
      <p:pic>
        <p:nvPicPr>
          <p:cNvPr id="3" name="Picture 2" descr="Net Zero Action Plan">
            <a:extLst>
              <a:ext uri="{FF2B5EF4-FFF2-40B4-BE49-F238E27FC236}">
                <a16:creationId xmlns:a16="http://schemas.microsoft.com/office/drawing/2014/main" id="{FAE45911-6294-4543-5D47-8CC65D76669B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D7EAE8"/>
              </a:clrFrom>
              <a:clrTo>
                <a:srgbClr val="D7EAE8">
                  <a:alpha val="0"/>
                </a:srgbClr>
              </a:clrTo>
            </a:clrChange>
          </a:blip>
          <a:srcRect l="52362" t="18431" r="17976" b="8462"/>
          <a:stretch>
            <a:fillRect/>
          </a:stretch>
        </p:blipFill>
        <p:spPr>
          <a:xfrm>
            <a:off x="652509" y="1713820"/>
            <a:ext cx="5869604" cy="4571053"/>
          </a:xfrm>
          <a:prstGeom prst="rect">
            <a:avLst/>
          </a:prstGeom>
        </p:spPr>
      </p:pic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udad de Cambridge –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io de 2023              8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4884385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es-US" sz="28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l Plan de acción Cero emisiones netas incluye medidas para reducir las emisiones de las edificaciones nuevas y existentes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0" name="Picture 49" descr="Net Zero Action Plan">
            <a:extLst>
              <a:ext uri="{FF2B5EF4-FFF2-40B4-BE49-F238E27FC236}">
                <a16:creationId xmlns:a16="http://schemas.microsoft.com/office/drawing/2014/main" id="{A1F8D0D6-16E7-918C-6278-B9522CE6D9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9433" y="1679386"/>
            <a:ext cx="8693133" cy="4895331"/>
          </a:xfrm>
          <a:prstGeom prst="rect">
            <a:avLst/>
          </a:prstGeom>
        </p:spPr>
      </p:pic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udad de Cambridge –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US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ulio de 2023              9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447753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NET" val="3.1.12"/>
  <p:tag name="AS_OS" val="Unix 5.4.209.116"/>
  <p:tag name="AS_RELEASE_DATE" val="2020.03.14"/>
  <p:tag name="AS_TITLE" val="Aspose.Slides for .NET Standard 2.0"/>
  <p:tag name="AS_VERSION" val="20.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kIDfDwYm_EWmPJqlWV2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mRJuAw6Nk19E6ww_xs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zHuYJ_0K4SBjAdGrRE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VGaBuFm6pgNOl6yERq8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kIDfDwYm_EWmPJqlWV2w"/>
</p:tagLst>
</file>

<file path=ppt/theme/theme1.xml><?xml version="1.0" encoding="utf-8"?>
<a:theme xmlns:a="http://schemas.openxmlformats.org/drawingml/2006/main" name="1_Office Theme">
  <a:themeElements>
    <a:clrScheme name="Custom 8">
      <a:dk1>
        <a:srgbClr val="1269A2"/>
      </a:dk1>
      <a:lt1>
        <a:srgbClr val="FFFFFF"/>
      </a:lt1>
      <a:dk2>
        <a:srgbClr val="000000"/>
      </a:dk2>
      <a:lt2>
        <a:srgbClr val="C8D068"/>
      </a:lt2>
      <a:accent1>
        <a:srgbClr val="1269A2"/>
      </a:accent1>
      <a:accent2>
        <a:srgbClr val="C8D068"/>
      </a:accent2>
      <a:accent3>
        <a:srgbClr val="AEABAB"/>
      </a:accent3>
      <a:accent4>
        <a:srgbClr val="FFFFFF"/>
      </a:accent4>
      <a:accent5>
        <a:srgbClr val="1269A2"/>
      </a:accent5>
      <a:accent6>
        <a:srgbClr val="70AD47"/>
      </a:accent6>
      <a:hlink>
        <a:srgbClr val="0D4E79"/>
      </a:hlink>
      <a:folHlink>
        <a:srgbClr val="ED7D31"/>
      </a:folHlink>
    </a:clrScheme>
    <a:fontScheme name="Custom 1">
      <a:majorFont>
        <a:latin typeface="Calibri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wrap="square" rtlCol="0" anchor="ctr"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Arial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Arial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9222cad-37d3-4250-8101-175b76bc4737">
      <Terms xmlns="http://schemas.microsoft.com/office/infopath/2007/PartnerControls"/>
    </lcf76f155ced4ddcb4097134ff3c332f>
    <TaxCatchAll xmlns="cf4093f2-ea7e-4937-a622-b54e6f5b5c86" xsi:nil="true"/>
    <SharedWithUsers xmlns="cf4093f2-ea7e-4937-a622-b54e6f5b5c86">
      <UserInfo>
        <DisplayName/>
        <AccountId xsi:nil="true"/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759CE57B8D5A54AABA9F82446E79BC9" ma:contentTypeVersion="13" ma:contentTypeDescription="Create a new document." ma:contentTypeScope="" ma:versionID="9f27886fb41cb719309cf082aef484e1">
  <xsd:schema xmlns:xsd="http://www.w3.org/2001/XMLSchema" xmlns:xs="http://www.w3.org/2001/XMLSchema" xmlns:p="http://schemas.microsoft.com/office/2006/metadata/properties" xmlns:ns2="39222cad-37d3-4250-8101-175b76bc4737" xmlns:ns3="cf4093f2-ea7e-4937-a622-b54e6f5b5c86" targetNamespace="http://schemas.microsoft.com/office/2006/metadata/properties" ma:root="true" ma:fieldsID="ec1b29d5442133302f9b436e86050124" ns2:_="" ns3:_="">
    <xsd:import namespace="39222cad-37d3-4250-8101-175b76bc4737"/>
    <xsd:import namespace="cf4093f2-ea7e-4937-a622-b54e6f5b5c8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222cad-37d3-4250-8101-175b76bc473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c0e9f556-afc0-44b9-a5d7-d85c3b214b2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f4093f2-ea7e-4937-a622-b54e6f5b5c8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1e34761a-d0d8-494d-98b9-bd5190a06359}" ma:internalName="TaxCatchAll" ma:showField="CatchAllData" ma:web="cf4093f2-ea7e-4937-a622-b54e6f5b5c8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10F5062-4803-4F8E-9FA4-6D6C0F2A017E}">
  <ds:schemaRefs>
    <ds:schemaRef ds:uri="39222cad-37d3-4250-8101-175b76bc4737"/>
    <ds:schemaRef ds:uri="cf4093f2-ea7e-4937-a622-b54e6f5b5c8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FE0AAA25-269B-4AC7-A93C-ABE6EE43E8D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D5AB0FF-6216-4AAC-BE6C-20BFC8557843}">
  <ds:schemaRefs>
    <ds:schemaRef ds:uri="39222cad-37d3-4250-8101-175b76bc4737"/>
    <ds:schemaRef ds:uri="cf4093f2-ea7e-4937-a622-b54e6f5b5c8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 2013 - 2022</Template>
  <TotalTime>6</TotalTime>
  <Words>2532</Words>
  <Application>Microsoft Office PowerPoint</Application>
  <PresentationFormat>Widescreen</PresentationFormat>
  <Paragraphs>247</Paragraphs>
  <Slides>28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1" baseType="lpstr">
      <vt:lpstr>Arial</vt:lpstr>
      <vt:lpstr>Calibri</vt:lpstr>
      <vt:lpstr>1_Office Theme</vt:lpstr>
      <vt:lpstr>Visión general: Programa de manifestación contra el uso de combustibles fósiles en las edificaciones</vt:lpstr>
      <vt:lpstr>Bienvenidos</vt:lpstr>
      <vt:lpstr>Instrucciones para hacer una pregunta o un comentario</vt:lpstr>
      <vt:lpstr>Agenda</vt:lpstr>
      <vt:lpstr>Agenda</vt:lpstr>
      <vt:lpstr>Desde hace tiempo, la ciudad de Cambridge se ha comprometido a luchar contra el cambio climático.</vt:lpstr>
      <vt:lpstr>Los edificios son los que más gases de efecto invernadero (GEI) emiten en Cambridge.</vt:lpstr>
      <vt:lpstr>Cambridge cuenta con un Plan de acción Cero emisiones netas. Se trata de un plan a largo plazo para reducir las emisiones de los edificios.</vt:lpstr>
      <vt:lpstr>El Plan de acción Cero emisiones netas incluye medidas para reducir las emisiones de las edificaciones nuevas y existentes.</vt:lpstr>
      <vt:lpstr>El Plan de acción Cero emisiones netas incluye medidas para reducir las emisiones de las edificaciones nuevas y existentes.</vt:lpstr>
      <vt:lpstr>Massachusetts ha identificado políticas y programas para llegar a cero emisiones netas en 2050.</vt:lpstr>
      <vt:lpstr>Cumplir nuestros objetivos climáticos implica eliminar progresivamente los combustibles fósiles en las edificaciones nuevas.</vt:lpstr>
      <vt:lpstr>Los constructores deben instalar sistemas limpios y totalmente eléctricos.  </vt:lpstr>
      <vt:lpstr>Agenda</vt:lpstr>
      <vt:lpstr>Massachusetts creó un Programa de manifestación contra el uso de combustibles fósiles.</vt:lpstr>
      <vt:lpstr>Se autorizó a Cambridge a participar en el Programa de manifestación de Massachusetts.</vt:lpstr>
      <vt:lpstr>Agenda</vt:lpstr>
      <vt:lpstr>El Programa de manifestación exige que los edificios nuevos y las renovaciones significativas no utilicen combustibles fósiles.</vt:lpstr>
      <vt:lpstr>El Programa de manifestación contra el uso de combustibles fósiles propone una ordenanza “modelo”.</vt:lpstr>
      <vt:lpstr>El Estado evaluará los resultados</vt:lpstr>
      <vt:lpstr>Agenda</vt:lpstr>
      <vt:lpstr>Calendario para las Comunidades Prioritarias</vt:lpstr>
      <vt:lpstr>Estamos compartiendo información sobre el programa con los residentes de Cambridge y los propietarios de edificios.</vt:lpstr>
      <vt:lpstr>Queremos conocer su opinión sobre cómo los edificios nuevos y las renovaciones significativas en Cambridge pueden prescindir de los combustibles fósiles.</vt:lpstr>
      <vt:lpstr>Próximos pasos para Cambridge</vt:lpstr>
      <vt:lpstr>Preguntas y respuestas</vt:lpstr>
      <vt:lpstr>Para más información</vt:lpstr>
      <vt:lpstr>¡Gracias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ssil Fuel Free Building Demonstration Program - Overview</dc:title>
  <dc:creator>Nikhil Nadkarni</dc:creator>
  <cp:lastModifiedBy>Rosa, Crystal</cp:lastModifiedBy>
  <cp:revision>1</cp:revision>
  <cp:lastPrinted>2023-07-07T14:04:32Z</cp:lastPrinted>
  <dcterms:created xsi:type="dcterms:W3CDTF">2023-06-05T23:56:43Z</dcterms:created>
  <dcterms:modified xsi:type="dcterms:W3CDTF">2023-07-13T21:41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ExtendedDescription">
    <vt:lpwstr/>
  </property>
  <property fmtid="{D5CDD505-2E9C-101B-9397-08002B2CF9AE}" pid="3" name="ComplianceAssetId">
    <vt:lpwstr/>
  </property>
  <property fmtid="{D5CDD505-2E9C-101B-9397-08002B2CF9AE}" pid="4" name="ContentTypeId">
    <vt:lpwstr>0x010100E759CE57B8D5A54AABA9F82446E79BC9</vt:lpwstr>
  </property>
  <property fmtid="{D5CDD505-2E9C-101B-9397-08002B2CF9AE}" pid="5" name="MediaServiceImageTags">
    <vt:lpwstr/>
  </property>
  <property fmtid="{D5CDD505-2E9C-101B-9397-08002B2CF9AE}" pid="6" name="Order">
    <vt:r8>88200</vt:r8>
  </property>
  <property fmtid="{D5CDD505-2E9C-101B-9397-08002B2CF9AE}" pid="7" name="TriggerFlowInfo">
    <vt:lpwstr/>
  </property>
</Properties>
</file>